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574" r:id="rId2"/>
    <p:sldId id="573" r:id="rId3"/>
    <p:sldId id="547" r:id="rId4"/>
    <p:sldId id="549" r:id="rId5"/>
    <p:sldId id="584" r:id="rId6"/>
    <p:sldId id="579" r:id="rId7"/>
    <p:sldId id="580" r:id="rId8"/>
    <p:sldId id="581" r:id="rId9"/>
    <p:sldId id="582" r:id="rId10"/>
    <p:sldId id="578" r:id="rId11"/>
    <p:sldId id="559" r:id="rId12"/>
    <p:sldId id="585" r:id="rId13"/>
    <p:sldId id="557" r:id="rId14"/>
    <p:sldId id="556" r:id="rId15"/>
    <p:sldId id="566" r:id="rId16"/>
    <p:sldId id="575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AA954"/>
    <a:srgbClr val="FDD7AD"/>
    <a:srgbClr val="FCCD9A"/>
    <a:srgbClr val="1E6680"/>
    <a:srgbClr val="227491"/>
    <a:srgbClr val="F7A752"/>
    <a:srgbClr val="904B49"/>
    <a:srgbClr val="C89F9A"/>
    <a:srgbClr val="DDAF7D"/>
    <a:srgbClr val="5D565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21250" autoAdjust="0"/>
    <p:restoredTop sz="86364" autoAdjust="0"/>
  </p:normalViewPr>
  <p:slideViewPr>
    <p:cSldViewPr snapToGrid="0">
      <p:cViewPr varScale="1">
        <p:scale>
          <a:sx n="73" d="100"/>
          <a:sy n="73" d="100"/>
        </p:scale>
        <p:origin x="-372" y="-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немесячная заработная 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</c:spPr>
          <c:dPt>
            <c:idx val="10"/>
            <c:spPr>
              <a:solidFill>
                <a:srgbClr val="FAA954"/>
              </a:solidFill>
            </c:spPr>
          </c:dPt>
          <c:dLbls>
            <c:dLbl>
              <c:idx val="10"/>
              <c:spPr/>
              <c:txPr>
                <a:bodyPr/>
                <a:lstStyle/>
                <a:p>
                  <a:pPr>
                    <a:defRPr sz="1600" b="1">
                      <a:solidFill>
                        <a:srgbClr val="FAA954"/>
                      </a:solidFill>
                    </a:defRPr>
                  </a:pPr>
                  <a:endParaRPr lang="ru-RU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accent1">
                        <a:lumMod val="5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2</c:f>
              <c:strCache>
                <c:ptCount val="11"/>
                <c:pt idx="0">
                  <c:v>Выпускник №1</c:v>
                </c:pt>
                <c:pt idx="1">
                  <c:v>Выпускник №2</c:v>
                </c:pt>
                <c:pt idx="2">
                  <c:v>Выпускник №3</c:v>
                </c:pt>
                <c:pt idx="3">
                  <c:v>Выпускник №4</c:v>
                </c:pt>
                <c:pt idx="4">
                  <c:v>Выпускник №5</c:v>
                </c:pt>
                <c:pt idx="5">
                  <c:v>Выпускник №6</c:v>
                </c:pt>
                <c:pt idx="6">
                  <c:v>Выпускник №7</c:v>
                </c:pt>
                <c:pt idx="7">
                  <c:v>Выпускник №8</c:v>
                </c:pt>
                <c:pt idx="8">
                  <c:v>Выпускник №9</c:v>
                </c:pt>
                <c:pt idx="9">
                  <c:v>Выпускник №10</c:v>
                </c:pt>
                <c:pt idx="10">
                  <c:v>Средняя ЗП по спец.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87000</c:v>
                </c:pt>
                <c:pt idx="1">
                  <c:v>80000</c:v>
                </c:pt>
                <c:pt idx="2">
                  <c:v>120000</c:v>
                </c:pt>
                <c:pt idx="3">
                  <c:v>65000</c:v>
                </c:pt>
                <c:pt idx="4">
                  <c:v>78000</c:v>
                </c:pt>
                <c:pt idx="5">
                  <c:v>84000</c:v>
                </c:pt>
                <c:pt idx="6">
                  <c:v>97000</c:v>
                </c:pt>
                <c:pt idx="7">
                  <c:v>180000</c:v>
                </c:pt>
                <c:pt idx="8">
                  <c:v>60000</c:v>
                </c:pt>
                <c:pt idx="9">
                  <c:v>100000</c:v>
                </c:pt>
                <c:pt idx="10">
                  <c:v>95100</c:v>
                </c:pt>
              </c:numCache>
            </c:numRef>
          </c:val>
        </c:ser>
        <c:dLbls/>
        <c:axId val="65506304"/>
        <c:axId val="65512192"/>
      </c:barChart>
      <c:catAx>
        <c:axId val="65506304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1200">
                <a:solidFill>
                  <a:schemeClr val="accent1">
                    <a:lumMod val="50000"/>
                  </a:schemeClr>
                </a:solidFill>
              </a:defRPr>
            </a:pPr>
            <a:endParaRPr lang="ru-RU"/>
          </a:p>
        </c:txPr>
        <c:crossAx val="65512192"/>
        <c:crosses val="autoZero"/>
        <c:auto val="1"/>
        <c:lblAlgn val="ctr"/>
        <c:lblOffset val="100"/>
      </c:catAx>
      <c:valAx>
        <c:axId val="65512192"/>
        <c:scaling>
          <c:orientation val="minMax"/>
        </c:scaling>
        <c:delete val="1"/>
        <c:axPos val="l"/>
        <c:numFmt formatCode="General" sourceLinked="1"/>
        <c:tickLblPos val="nextTo"/>
        <c:crossAx val="6550630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60708F-6D78-4745-8A6F-11636CA0AFA6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4642FD-9E95-4B14-BF3A-2A7A3BAA63A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25269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642FD-9E95-4B14-BF3A-2A7A3BAA63AD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7750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1A198FE-96EB-45C8-81E7-B74C0FC385DD}" type="slidenum">
              <a:rPr lang="x-none" smtClean="0"/>
              <a:pPr>
                <a:defRPr/>
              </a:pPr>
              <a:t>1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xmlns="" val="90407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852061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22694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66739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686" name="think-cell Slide" r:id="rId4" imgW="360" imgH="360" progId="">
              <p:embed/>
            </p:oleObj>
          </a:graphicData>
        </a:graphic>
      </p:graphicFrame>
      <p:pic>
        <p:nvPicPr>
          <p:cNvPr id="4" name="Рисунок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23454" y="2184400"/>
            <a:ext cx="2545094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23454" y="2184400"/>
            <a:ext cx="2545094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904370" y="141289"/>
            <a:ext cx="951037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336595" y="684213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36595" y="6567488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7"/>
          <p:cNvSpPr txBox="1">
            <a:spLocks noChangeArrowheads="1"/>
          </p:cNvSpPr>
          <p:nvPr userDrawn="1"/>
        </p:nvSpPr>
        <p:spPr bwMode="auto">
          <a:xfrm>
            <a:off x="11298121" y="6567488"/>
            <a:ext cx="65254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6DC0A62F-59DA-4B7C-A2DC-76EB9C4D04BF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950215" y="6567489"/>
            <a:ext cx="4291572" cy="2000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7" name="Заголовок 6"/>
          <p:cNvSpPr>
            <a:spLocks noGrp="1"/>
          </p:cNvSpPr>
          <p:nvPr>
            <p:ph type="title"/>
          </p:nvPr>
        </p:nvSpPr>
        <p:spPr>
          <a:xfrm>
            <a:off x="336000" y="140594"/>
            <a:ext cx="10179600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698338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161293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22280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45733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48060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552506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58045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16538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847592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378221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B6A4CD-34B7-4F61-92E9-CBC5EEBFD729}" type="datetimeFigureOut">
              <a:rPr lang="ru-RU" smtClean="0"/>
              <a:pPr/>
              <a:t>2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765B19-3708-4671-A182-E4AC49EF4F9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4215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microsoft.com/office/2007/relationships/hdphoto" Target="../media/hdphoto1.wdp"/><Relationship Id="rId2" Type="http://schemas.openxmlformats.org/officeDocument/2006/relationships/image" Target="../media/image3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2874654"/>
            <a:ext cx="6184900" cy="2997200"/>
          </a:xfrm>
          <a:prstGeom prst="rect">
            <a:avLst/>
          </a:prstGeom>
          <a:solidFill>
            <a:srgbClr val="FFBB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D6A164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007100" y="2456835"/>
            <a:ext cx="6184900" cy="2997200"/>
          </a:xfrm>
          <a:prstGeom prst="rect">
            <a:avLst/>
          </a:prstGeom>
          <a:solidFill>
            <a:srgbClr val="FFBB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D6A164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2874654"/>
            <a:ext cx="12192000" cy="2997200"/>
          </a:xfrm>
          <a:prstGeom prst="rect">
            <a:avLst/>
          </a:prstGeom>
          <a:solidFill>
            <a:srgbClr val="476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8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94054" y="877143"/>
            <a:ext cx="1488855" cy="773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Заголовок 3"/>
          <p:cNvSpPr txBox="1">
            <a:spLocks/>
          </p:cNvSpPr>
          <p:nvPr/>
        </p:nvSpPr>
        <p:spPr>
          <a:xfrm>
            <a:off x="1056317" y="3623388"/>
            <a:ext cx="9095508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hnschrift SemiBold SemiConden" panose="020B0502040204020203" pitchFamily="34" charset="0"/>
              </a:rPr>
              <a:t>Методика формирования рейтинга образовательных программ высших учебных заведений Республики Казахстан 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156679" y="855662"/>
            <a:ext cx="2939392" cy="815975"/>
            <a:chOff x="2156679" y="855662"/>
            <a:chExt cx="2939392" cy="815975"/>
          </a:xfrm>
        </p:grpSpPr>
        <p:sp>
          <p:nvSpPr>
            <p:cNvPr id="13" name="Заголовок 1"/>
            <p:cNvSpPr txBox="1">
              <a:spLocks/>
            </p:cNvSpPr>
            <p:nvPr/>
          </p:nvSpPr>
          <p:spPr>
            <a:xfrm>
              <a:off x="2878660" y="939602"/>
              <a:ext cx="2217411" cy="526860"/>
            </a:xfrm>
            <a:prstGeom prst="rect">
              <a:avLst/>
            </a:prstGeom>
          </p:spPr>
          <p:txBody>
            <a:bodyPr vert="horz" lIns="91440" tIns="45720" rIns="91440" bIns="45720" rtlCol="0" anchor="b">
              <a:norm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1050" cap="all" dirty="0" smtClean="0">
                  <a:solidFill>
                    <a:srgbClr val="2B5B77"/>
                  </a:solidFill>
                  <a:latin typeface="Bahnschrift SemiBold Condensed" panose="020B0502040204020203" pitchFamily="34" charset="0"/>
                </a:rPr>
                <a:t>МИНИСТЕРСТВО ОБРАЗОВАНИЯ И НАУКИ</a:t>
              </a:r>
              <a:r>
                <a:rPr lang="ru-RU" sz="1050" dirty="0" smtClean="0">
                  <a:solidFill>
                    <a:srgbClr val="2B5B77"/>
                  </a:solidFill>
                  <a:latin typeface="Bahnschrift SemiBold Condensed" panose="020B0502040204020203" pitchFamily="34" charset="0"/>
                </a:rPr>
                <a:t/>
              </a:r>
              <a:br>
                <a:rPr lang="ru-RU" sz="1050" dirty="0" smtClean="0">
                  <a:solidFill>
                    <a:srgbClr val="2B5B77"/>
                  </a:solidFill>
                  <a:latin typeface="Bahnschrift SemiBold Condensed" panose="020B0502040204020203" pitchFamily="34" charset="0"/>
                </a:rPr>
              </a:br>
              <a:r>
                <a:rPr lang="ru-RU" sz="1050" cap="all" dirty="0" smtClean="0">
                  <a:solidFill>
                    <a:srgbClr val="2B5B77"/>
                  </a:solidFill>
                  <a:latin typeface="Bahnschrift SemiBold Condensed" panose="020B0502040204020203" pitchFamily="34" charset="0"/>
                </a:rPr>
                <a:t>РЕСПУБЛИКИ КАЗАХСТАН</a:t>
              </a:r>
              <a:endParaRPr lang="ru-RU" sz="1050" dirty="0">
                <a:solidFill>
                  <a:srgbClr val="2B5B77"/>
                </a:solidFill>
                <a:latin typeface="Bahnschrift SemiBold Condensed" panose="020B0502040204020203" pitchFamily="34" charset="0"/>
              </a:endParaRPr>
            </a:p>
          </p:txBody>
        </p:sp>
        <p:pic>
          <p:nvPicPr>
            <p:cNvPr id="2050" name="Picture 2" descr="Картинки по запросу министерство образования рк логотип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6679" y="855662"/>
              <a:ext cx="815975" cy="8159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Прямоугольник 8"/>
          <p:cNvSpPr/>
          <p:nvPr/>
        </p:nvSpPr>
        <p:spPr>
          <a:xfrm>
            <a:off x="4793592" y="6084823"/>
            <a:ext cx="27335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 smtClean="0">
                <a:solidFill>
                  <a:srgbClr val="1E668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г. </a:t>
            </a:r>
            <a:r>
              <a:rPr lang="ru-RU" altLang="ru-RU" b="1" dirty="0" err="1" smtClean="0">
                <a:solidFill>
                  <a:srgbClr val="1E668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Нур</a:t>
            </a:r>
            <a:r>
              <a:rPr lang="ru-RU" altLang="ru-RU" b="1" dirty="0" smtClean="0">
                <a:solidFill>
                  <a:srgbClr val="1E668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-Султан 2020 год</a:t>
            </a:r>
            <a:endParaRPr lang="ru-RU" b="1" dirty="0">
              <a:solidFill>
                <a:srgbClr val="1E66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737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СРЕДНЯЯ ЗАРАБОТНАЯ ПЛАТА (вес – 5%)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36449" y="812223"/>
            <a:ext cx="115761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Для большей достоверности введена привязка к региону. Рассчитывается как отношение среднемесячной заработной платы выпускника к прожиточному минимуму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региона (на момент выгрузки),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в котором он работает. Данный индикатор позволит оценивать успешность трудоустройства в каждом из рассматриваемых регионов с точки зрения покупательной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пособности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36449" y="1761629"/>
            <a:ext cx="11576151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/>
        </p:nvGrpSpPr>
        <p:grpSpPr>
          <a:xfrm>
            <a:off x="7703874" y="3415581"/>
            <a:ext cx="3009901" cy="2826987"/>
            <a:chOff x="8652453" y="3205513"/>
            <a:chExt cx="1506429" cy="1520686"/>
          </a:xfrm>
        </p:grpSpPr>
        <p:pic>
          <p:nvPicPr>
            <p:cNvPr id="11" name="Picture 20" descr="Картинки по запросу &quot;человек .png&quot;"/>
            <p:cNvPicPr>
              <a:picLocks noChangeAspect="1" noChangeArrowheads="1"/>
            </p:cNvPicPr>
            <p:nvPr/>
          </p:nvPicPr>
          <p:blipFill rotWithShape="1"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17678"/>
            <a:stretch/>
          </p:blipFill>
          <p:spPr bwMode="auto">
            <a:xfrm>
              <a:off x="8652453" y="3615803"/>
              <a:ext cx="1506429" cy="11103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Картинки по запросу &quot;worker safety .png&quot;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75117" y="3205513"/>
              <a:ext cx="448390" cy="4483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Группа 17"/>
          <p:cNvGrpSpPr/>
          <p:nvPr/>
        </p:nvGrpSpPr>
        <p:grpSpPr>
          <a:xfrm>
            <a:off x="1453032" y="3415580"/>
            <a:ext cx="2638767" cy="2826987"/>
            <a:chOff x="2955643" y="4704854"/>
            <a:chExt cx="1348848" cy="1485542"/>
          </a:xfrm>
        </p:grpSpPr>
        <p:pic>
          <p:nvPicPr>
            <p:cNvPr id="19" name="Picture 20" descr="Картинки по запросу &quot;человек .png&quot;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5643" y="4841548"/>
              <a:ext cx="1348848" cy="134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2" descr="Картинки по запросу &quot;выпускник .png&quot;"/>
            <p:cNvPicPr>
              <a:picLocks noChangeAspect="1" noChangeArrowheads="1"/>
            </p:cNvPicPr>
            <p:nvPr/>
          </p:nvPicPr>
          <p:blipFill rotWithShape="1">
            <a:blip r:embed="rId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4780" r="13735" b="39587"/>
            <a:stretch/>
          </p:blipFill>
          <p:spPr bwMode="auto">
            <a:xfrm>
              <a:off x="3391297" y="4704854"/>
              <a:ext cx="469704" cy="396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/>
        </p:nvSpPr>
        <p:spPr>
          <a:xfrm>
            <a:off x="898018" y="2290924"/>
            <a:ext cx="36881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Средняя зарплата выпускника №1, </a:t>
            </a:r>
          </a:p>
          <a:p>
            <a:pPr algn="ctr"/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работающего в Мангистауской области</a:t>
            </a:r>
          </a:p>
          <a:p>
            <a:pPr algn="ctr"/>
            <a:r>
              <a:rPr lang="kk-KZ" sz="2400" b="1" dirty="0" smtClean="0">
                <a:solidFill>
                  <a:srgbClr val="FAA954"/>
                </a:solidFill>
              </a:rPr>
              <a:t>200 000 тг</a:t>
            </a:r>
            <a:endParaRPr lang="ru-RU" sz="1600" b="1" dirty="0">
              <a:solidFill>
                <a:srgbClr val="FAA954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397400" y="2290924"/>
            <a:ext cx="362285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Средняя зарплата выпускника №2, </a:t>
            </a:r>
            <a:endParaRPr lang="kk-KZ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работающего в 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Павлодарской </a:t>
            </a:r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области</a:t>
            </a:r>
          </a:p>
          <a:p>
            <a:pPr algn="ctr"/>
            <a:r>
              <a:rPr lang="kk-KZ" sz="2400" b="1" dirty="0" smtClean="0">
                <a:solidFill>
                  <a:srgbClr val="FAA954"/>
                </a:solidFill>
              </a:rPr>
              <a:t>150 000 тг</a:t>
            </a:r>
            <a:endParaRPr lang="ru-RU" sz="1600" b="1" dirty="0">
              <a:solidFill>
                <a:srgbClr val="FAA954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49562" y="3958837"/>
            <a:ext cx="426768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Выпускник №1. 200000/39400 = </a:t>
            </a:r>
            <a:r>
              <a:rPr lang="ru-RU" sz="2000" b="1" dirty="0" smtClean="0">
                <a:solidFill>
                  <a:srgbClr val="FAA954"/>
                </a:solidFill>
              </a:rPr>
              <a:t>5,07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endParaRPr lang="ru-RU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Выпускник №2 150000/28600 = </a:t>
            </a:r>
            <a:r>
              <a:rPr lang="ru-RU" sz="2000" b="1" dirty="0" smtClean="0">
                <a:solidFill>
                  <a:srgbClr val="FAA954"/>
                </a:solidFill>
              </a:rPr>
              <a:t>5,24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949562" y="3817167"/>
            <a:ext cx="4267683" cy="1233247"/>
          </a:xfrm>
          <a:prstGeom prst="roundRect">
            <a:avLst/>
          </a:prstGeom>
          <a:noFill/>
          <a:ln w="28575">
            <a:solidFill>
              <a:srgbClr val="FAA95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544356" y="1860037"/>
            <a:ext cx="90739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Результат подсчета по данному критерию на основе данных по рейтингу 2019 г.: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03464" y="5289229"/>
            <a:ext cx="2405663" cy="998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Прожиточный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минимум: </a:t>
            </a:r>
            <a:endParaRPr lang="ru-RU" sz="14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1400" b="1" dirty="0" err="1">
                <a:solidFill>
                  <a:schemeClr val="accent1">
                    <a:lumMod val="50000"/>
                  </a:schemeClr>
                </a:solidFill>
              </a:rPr>
              <a:t>Мангистауская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 область – </a:t>
            </a:r>
            <a:r>
              <a:rPr lang="ru-RU" sz="2500" b="1" dirty="0">
                <a:solidFill>
                  <a:srgbClr val="FAA954"/>
                </a:solidFill>
              </a:rPr>
              <a:t>39,4 тыс. </a:t>
            </a:r>
            <a:r>
              <a:rPr lang="ru-RU" sz="2500" b="1" dirty="0" err="1">
                <a:solidFill>
                  <a:srgbClr val="FAA954"/>
                </a:solidFill>
              </a:rPr>
              <a:t>тг</a:t>
            </a:r>
            <a:endParaRPr lang="ru-RU" sz="2500" b="1" dirty="0">
              <a:solidFill>
                <a:srgbClr val="FAA954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599917" y="5316900"/>
            <a:ext cx="2312683" cy="5125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Прожиточный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минимум: </a:t>
            </a:r>
            <a:endParaRPr lang="ru-RU" sz="14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Павлодарская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область – </a:t>
            </a:r>
            <a:r>
              <a:rPr lang="ru-RU" sz="2500" b="1" dirty="0">
                <a:solidFill>
                  <a:srgbClr val="FAA954"/>
                </a:solidFill>
              </a:rPr>
              <a:t>28,6 </a:t>
            </a:r>
            <a:r>
              <a:rPr lang="ru-RU" sz="2500" b="1" dirty="0" smtClean="0">
                <a:solidFill>
                  <a:srgbClr val="FAA954"/>
                </a:solidFill>
              </a:rPr>
              <a:t>тыс</a:t>
            </a:r>
            <a:r>
              <a:rPr lang="ru-RU" sz="2500" b="1" dirty="0">
                <a:solidFill>
                  <a:srgbClr val="FAA954"/>
                </a:solidFill>
              </a:rPr>
              <a:t>. </a:t>
            </a:r>
            <a:r>
              <a:rPr lang="ru-RU" sz="2500" b="1" dirty="0" err="1">
                <a:solidFill>
                  <a:srgbClr val="FAA954"/>
                </a:solidFill>
              </a:rPr>
              <a:t>тг</a:t>
            </a:r>
            <a:endParaRPr lang="ru-RU" sz="2500" b="1" dirty="0">
              <a:solidFill>
                <a:srgbClr val="FAA954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949563" y="5709396"/>
            <a:ext cx="4267682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50" b="1" dirty="0" smtClean="0">
                <a:solidFill>
                  <a:schemeClr val="accent1">
                    <a:lumMod val="50000"/>
                  </a:schemeClr>
                </a:solidFill>
              </a:rPr>
              <a:t>Вывод: </a:t>
            </a:r>
            <a:r>
              <a:rPr lang="ru-RU" sz="1450" b="1" dirty="0">
                <a:solidFill>
                  <a:schemeClr val="accent1">
                    <a:lumMod val="50000"/>
                  </a:schemeClr>
                </a:solidFill>
              </a:rPr>
              <a:t>вуз Павлодарской области получит </a:t>
            </a:r>
            <a:r>
              <a:rPr lang="ru-RU" sz="1450" b="1" dirty="0" smtClean="0">
                <a:solidFill>
                  <a:schemeClr val="accent1">
                    <a:lumMod val="50000"/>
                  </a:schemeClr>
                </a:solidFill>
              </a:rPr>
              <a:t>больший балл, имея меньшую заработную плату</a:t>
            </a:r>
            <a:endParaRPr lang="ru-RU" sz="145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0584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ТЕРИИ БЛОКА «КАЧЕСТВО ОБРАЗОВАТЕЛЬНОЙ ПРОГРАММЫ». СТАТИСТИЧЕСКИЕ ДАННЫЕ </a:t>
            </a:r>
            <a:endParaRPr lang="ru-RU" dirty="0"/>
          </a:p>
        </p:txBody>
      </p:sp>
      <p:pic>
        <p:nvPicPr>
          <p:cNvPr id="38" name="Picture 2" descr="Image result for рукопожатие 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7646" y="928580"/>
            <a:ext cx="583451" cy="58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Image result for инвестиции 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7646" y="2571609"/>
            <a:ext cx="583451" cy="58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" descr="Image result for преподаватель 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7646" y="4459928"/>
            <a:ext cx="583451" cy="58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Прямоугольник 40"/>
          <p:cNvSpPr/>
          <p:nvPr/>
        </p:nvSpPr>
        <p:spPr>
          <a:xfrm>
            <a:off x="1391876" y="943306"/>
            <a:ext cx="10357144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4.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азработка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П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аботодателями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(3%)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казатель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ивлечения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аботодателе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к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азработк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П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четом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х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требностей и пожеланий, для получения студентами необходимых компетенций и успешного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рудоустройства выпускника</a:t>
            </a:r>
          </a:p>
          <a:p>
            <a:pPr algn="just"/>
            <a:endParaRPr lang="ru-RU" sz="1500" b="1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тверждение от вуза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рикрепление в ЕСУВО (esuvo.platonus.kz)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кан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. варианта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ОП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ли КЭД за 2019-2020 учебный год с подписью и печатью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аботодателя</a:t>
            </a:r>
            <a:endParaRPr lang="ru-RU" sz="15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391875" y="2470919"/>
            <a:ext cx="10346869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5. Инвестиции </a:t>
            </a:r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П (3%) -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ведения об инвестициях, вложенных в образовательную программу за последние 4 года с приложением, подтверждающими документами по следующим направлениям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: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«Развитие лабораторий», «Развитие библиотечного фонда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»</a:t>
            </a:r>
          </a:p>
          <a:p>
            <a:pPr algn="just"/>
            <a:endParaRPr lang="ru-RU" sz="15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тверждение от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уза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рикрепление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 ЕСУВО (esuvo.platonus.kz) скан.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арианта договоров (с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писью и печатью), счет-фактур отдельно по каждому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иду инвестиций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либо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кан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.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арианта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документа с суммой и видом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нвестиций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 подписью и печатью ректора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уза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391876" y="4489381"/>
            <a:ext cx="1035714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6. Количество </a:t>
            </a:r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ивлеченных к учебному процессу специалистов с производства по соответствующей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трасли (4%)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-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казатель количества привлекаемых преподавателей с практическим опытом работы и преподавателей, прошедших повышение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квалификации</a:t>
            </a:r>
          </a:p>
          <a:p>
            <a:pPr algn="just"/>
            <a:endParaRPr lang="ru-RU" sz="15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тверждение от вуза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рикрепление в ЕСУВО (esuvo.platonus.kz) скан. варианта трудовых книжек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(страница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 ФИО преподавателя и записи с место работы в период с 2005 г. по 2020 г.) либо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правки с отдела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кадров с именем преподавателя, количеством опыта работы в месяцах вне структуры вуза и дисциплины преподавания с подписью и печатью ректора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391876" y="1651000"/>
            <a:ext cx="10357144" cy="513401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381600" y="3390900"/>
            <a:ext cx="10357144" cy="750079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381600" y="5410201"/>
            <a:ext cx="10357144" cy="1003300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9039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РИТЕРИИ БЛОКА «КАЧЕСТВО ОБРАЗОВАТЕЛЬНОЙ ПРОГРАММЫ». СТАТИСТИЧЕСКИЕ ДАННЫЕ </a:t>
            </a:r>
            <a:endParaRPr lang="ru-RU" dirty="0"/>
          </a:p>
        </p:txBody>
      </p:sp>
      <p:pic>
        <p:nvPicPr>
          <p:cNvPr id="9" name="Picture 8" descr="Image result for проверка 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6193" y="938405"/>
            <a:ext cx="583451" cy="58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370423" y="1068547"/>
            <a:ext cx="10368320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7. Аккредитация ОП (4%)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-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ведения об аккредитации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ой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ли иной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пециальности</a:t>
            </a:r>
          </a:p>
          <a:p>
            <a:pPr algn="just"/>
            <a:endParaRPr lang="ru-RU" sz="15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тверждение </a:t>
            </a:r>
            <a:r>
              <a:rPr lang="ru-RU" sz="15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т вуза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рикрепление в ЕСУВО (esuvo.platonus.kz) скан. вариантов действующих сертификатов о прохождении специализированной аккредитации ОП в </a:t>
            </a:r>
            <a:r>
              <a:rPr lang="ru-RU" sz="1500" dirty="0" err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аккредитационных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органах</a:t>
            </a:r>
          </a:p>
          <a:p>
            <a:pPr algn="just"/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1" name="Picture 2" descr="Картинки по запросу &quot;тестирование .png&quot;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6191" y="4586734"/>
            <a:ext cx="583451" cy="58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370422" y="4616187"/>
            <a:ext cx="103468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</a:rPr>
              <a:t>9. Востребованность </a:t>
            </a:r>
            <a:r>
              <a:rPr lang="ru-RU" sz="1500" b="1" dirty="0">
                <a:solidFill>
                  <a:schemeClr val="accent1">
                    <a:lumMod val="50000"/>
                  </a:schemeClr>
                </a:solidFill>
              </a:rPr>
              <a:t>образовательных программ среди </a:t>
            </a: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</a:rPr>
              <a:t>абитуриентов (2%) </a:t>
            </a:r>
            <a:r>
              <a:rPr lang="en-US" sz="1500" dirty="0" smtClean="0">
                <a:solidFill>
                  <a:schemeClr val="accent1">
                    <a:lumMod val="50000"/>
                  </a:schemeClr>
                </a:solidFill>
              </a:rPr>
              <a:t>-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</a:rPr>
              <a:t>п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</a:rPr>
              <a:t>оказатель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</a:rPr>
              <a:t>, демонстрирующий выбор вузов абитуриентами с высокими результатами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</a:rPr>
              <a:t>ЕНТ</a:t>
            </a:r>
          </a:p>
          <a:p>
            <a:pPr algn="just"/>
            <a:endParaRPr lang="ru-RU" sz="1500" dirty="0">
              <a:solidFill>
                <a:schemeClr val="accent1">
                  <a:lumMod val="50000"/>
                </a:schemeClr>
              </a:solidFill>
            </a:endParaRPr>
          </a:p>
          <a:p>
            <a:pPr algn="just"/>
            <a:r>
              <a:rPr lang="ru-RU" sz="1500" dirty="0">
                <a:solidFill>
                  <a:schemeClr val="accent1">
                    <a:lumMod val="50000"/>
                  </a:schemeClr>
                </a:solidFill>
              </a:rPr>
              <a:t>В расчет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</a:rPr>
              <a:t>берутся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</a:rPr>
              <a:t>средние баллы ЕНТ и КТА выпускников 2019 г.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</a:rPr>
              <a:t>при поступлении в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</a:rPr>
              <a:t>разрезе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</a:rPr>
              <a:t>специальностей</a:t>
            </a:r>
            <a:endParaRPr lang="ru-RU" sz="1500" dirty="0">
              <a:solidFill>
                <a:schemeClr val="accent1">
                  <a:lumMod val="50000"/>
                </a:schemeClr>
              </a:solidFill>
            </a:endParaRPr>
          </a:p>
          <a:p>
            <a:pPr algn="just"/>
            <a:r>
              <a:rPr lang="ru-RU" sz="1500" b="1" dirty="0">
                <a:solidFill>
                  <a:schemeClr val="accent1">
                    <a:lumMod val="50000"/>
                  </a:schemeClr>
                </a:solidFill>
              </a:rPr>
              <a:t>Вуз обязан </a:t>
            </a:r>
            <a:r>
              <a:rPr lang="ru-RU" sz="1500" dirty="0">
                <a:solidFill>
                  <a:schemeClr val="accent1">
                    <a:lumMod val="50000"/>
                  </a:schemeClr>
                </a:solidFill>
              </a:rPr>
              <a:t>актуализировать все данные по выпускникам 2019 года в </a:t>
            </a:r>
            <a:r>
              <a:rPr lang="ru-RU" sz="1500" dirty="0" err="1" smtClean="0">
                <a:solidFill>
                  <a:schemeClr val="accent1">
                    <a:lumMod val="50000"/>
                  </a:schemeClr>
                </a:solidFill>
              </a:rPr>
              <a:t>esuvo.platonus.k</a:t>
            </a:r>
            <a:r>
              <a:rPr lang="en-US" sz="1500" dirty="0" smtClean="0">
                <a:solidFill>
                  <a:schemeClr val="accent1">
                    <a:lumMod val="50000"/>
                  </a:schemeClr>
                </a:solidFill>
              </a:rPr>
              <a:t>z</a:t>
            </a:r>
            <a:endParaRPr lang="ru-RU" sz="1500" dirty="0">
              <a:solidFill>
                <a:schemeClr val="accent1">
                  <a:lumMod val="50000"/>
                </a:schemeClr>
              </a:solidFill>
            </a:endParaRPr>
          </a:p>
          <a:p>
            <a:pPr algn="just"/>
            <a:endParaRPr lang="ru-RU" sz="15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3" name="Picture 2" descr="Картинки по запросу &quot;сертификация .png&quot;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5368" y="2677933"/>
            <a:ext cx="645096" cy="645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1370423" y="2584982"/>
            <a:ext cx="1036832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8. Международные сертификационные программы ОП (1%) </a:t>
            </a:r>
            <a:r>
              <a:rPr lang="ru-RU" sz="15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-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в расчет берутся образовательные программы, позволяющие во время и по окончании обучения получить сертификат по специальности или профессии, подтверждающий профессиональную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квалификацию</a:t>
            </a:r>
          </a:p>
          <a:p>
            <a:pPr algn="just"/>
            <a:endParaRPr lang="ru-RU" sz="16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тверждение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т вуз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рикрепление в ЕСУВО (esuvo.platonus.kz) скан. вариантов договоров или документов с подписью и печатью о наличии действующих Международных сертификационных программ ОП в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узе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391876" y="1562100"/>
            <a:ext cx="10357144" cy="513401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391876" y="3594100"/>
            <a:ext cx="10357144" cy="513401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391876" y="5295900"/>
            <a:ext cx="10357144" cy="571500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666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Скругленный прямоугольник 40"/>
          <p:cNvSpPr/>
          <p:nvPr/>
        </p:nvSpPr>
        <p:spPr>
          <a:xfrm>
            <a:off x="1286626" y="5538396"/>
            <a:ext cx="3763073" cy="591739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1473366" y="5565692"/>
            <a:ext cx="35763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я ОП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ременным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кациям</a:t>
            </a:r>
            <a:endParaRPr lang="ru-RU" sz="1400" dirty="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286626" y="4648028"/>
            <a:ext cx="3763073" cy="418336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1286626" y="3631006"/>
            <a:ext cx="3763073" cy="559675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286626" y="1704813"/>
            <a:ext cx="3763069" cy="559675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КРИТЕРИИ БЛОКА «КАЧЕСТВО ОБРАЗОВАТЕЛЬНОЙ ПРОГРАММЫ». ЭКСПЕРТНАЯ ОЦЕНКА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074781" y="459910"/>
            <a:ext cx="82296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rgbClr val="004A7A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663972" y="855271"/>
            <a:ext cx="1802462" cy="455260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AA954"/>
                </a:solidFill>
                <a:cs typeface="Arial" pitchFamily="34" charset="0"/>
              </a:rPr>
              <a:t>2019</a:t>
            </a:r>
            <a:endParaRPr lang="ru-RU" sz="4000" b="1" dirty="0">
              <a:solidFill>
                <a:srgbClr val="FAA954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495517" y="868746"/>
            <a:ext cx="1802462" cy="455260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AA954"/>
                </a:solidFill>
                <a:cs typeface="Arial" pitchFamily="34" charset="0"/>
              </a:rPr>
              <a:t>2020</a:t>
            </a:r>
            <a:endParaRPr lang="ru-RU" sz="4000" b="1" dirty="0">
              <a:solidFill>
                <a:srgbClr val="FAA954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722737" y="1596788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Picture 2" descr="Картинки по запросу &quot;книга .png&quot;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761" y="1704813"/>
            <a:ext cx="534575" cy="53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1473369" y="1722989"/>
            <a:ext cx="37673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современной </a:t>
            </a:r>
            <a:endParaRPr lang="ru-RU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ы источников</a:t>
            </a:r>
            <a:endParaRPr lang="ru-RU" sz="1400" dirty="0"/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286626" y="2656398"/>
            <a:ext cx="3763073" cy="559675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1473365" y="2672242"/>
            <a:ext cx="37674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содержания ОП требованиям рынка труда </a:t>
            </a:r>
            <a:endParaRPr lang="ru-RU" sz="1400" dirty="0"/>
          </a:p>
        </p:txBody>
      </p:sp>
      <p:sp>
        <p:nvSpPr>
          <p:cNvPr id="23" name="Овал 22"/>
          <p:cNvSpPr/>
          <p:nvPr/>
        </p:nvSpPr>
        <p:spPr>
          <a:xfrm>
            <a:off x="722738" y="2558539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722738" y="3525878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722738" y="4487756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722736" y="5451990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Picture 8" descr="Image result for проверка 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3961" y="2699765"/>
            <a:ext cx="468174" cy="468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Картинки по запросу &quot;Время .png&quot;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1554" y="4636575"/>
            <a:ext cx="452988" cy="45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артинки по запросу &quot;работа .png&quot;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09470" y="3712613"/>
            <a:ext cx="377156" cy="37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Картинки по запросу &quot;работник .png&quot;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9064" y="5608319"/>
            <a:ext cx="437967" cy="437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1473365" y="3643648"/>
            <a:ext cx="37674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о-ориентированность дисциплин </a:t>
            </a:r>
            <a:endParaRPr lang="ru-RU" sz="14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1473365" y="4721124"/>
            <a:ext cx="37537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аточность кредитов</a:t>
            </a:r>
            <a:endParaRPr lang="ru-RU" sz="1400" dirty="0"/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6838182" y="4327269"/>
            <a:ext cx="4700675" cy="559675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Овал 64"/>
          <p:cNvSpPr/>
          <p:nvPr/>
        </p:nvSpPr>
        <p:spPr>
          <a:xfrm>
            <a:off x="6336021" y="4219244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7086649" y="3186304"/>
            <a:ext cx="445220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 Соответствие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 обучения требованиям соответствующих отраслей (ПС,ОРК) и/или требованиям работодателей (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с – 8%)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838181" y="3167182"/>
            <a:ext cx="4700675" cy="973229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Овал 42"/>
          <p:cNvSpPr/>
          <p:nvPr/>
        </p:nvSpPr>
        <p:spPr>
          <a:xfrm>
            <a:off x="6305154" y="3069863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7071875" y="4329053"/>
            <a:ext cx="44522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. Практико-ориентированность дисциплины</a:t>
            </a:r>
          </a:p>
          <a:p>
            <a:pPr lvl="0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ес –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) 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6838183" y="1706499"/>
            <a:ext cx="4700674" cy="1251647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Овал 53"/>
          <p:cNvSpPr/>
          <p:nvPr/>
        </p:nvSpPr>
        <p:spPr>
          <a:xfrm>
            <a:off x="6336021" y="1598473"/>
            <a:ext cx="750627" cy="750627"/>
          </a:xfrm>
          <a:prstGeom prst="ellipse">
            <a:avLst/>
          </a:prstGeom>
          <a:solidFill>
            <a:srgbClr val="FAA954"/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7086649" y="1788595"/>
            <a:ext cx="44522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 Соответствие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ания требованиям рынка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(вес – 11%):</a:t>
            </a:r>
          </a:p>
          <a:p>
            <a:pPr lvl="0"/>
            <a:endParaRPr lang="ru-RU" sz="6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уальность изучаемых тем (доля – 0,6)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учаемых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сциплин (доля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2)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уальность используемых источников (доля – 0,2)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Picture 4" descr="Картинки по запросу &quot;работа .png&quot;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22450" y="4395623"/>
            <a:ext cx="377156" cy="377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Картинки по запросу &quot;соответствие.png&quot;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77245" y="1741119"/>
            <a:ext cx="467566" cy="46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77245" y="3238888"/>
            <a:ext cx="469433" cy="46333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5802620" y="5298375"/>
            <a:ext cx="60591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Документами для экспертов от вуза будут являться </a:t>
            </a:r>
            <a:r>
              <a:rPr lang="ru-RU" sz="1600" dirty="0" smtClean="0"/>
              <a:t>МОП (на </a:t>
            </a:r>
            <a:r>
              <a:rPr lang="ru-RU" sz="1600" dirty="0"/>
              <a:t>2019-2023 </a:t>
            </a:r>
            <a:r>
              <a:rPr lang="ru-RU" sz="1600" dirty="0" smtClean="0"/>
              <a:t>гг.), КЭД (на </a:t>
            </a:r>
            <a:r>
              <a:rPr lang="ru-RU" sz="1600" dirty="0"/>
              <a:t>2019-2023 </a:t>
            </a:r>
            <a:r>
              <a:rPr lang="ru-RU" sz="1600" dirty="0" smtClean="0"/>
              <a:t>гг.) и </a:t>
            </a:r>
            <a:r>
              <a:rPr lang="ru-RU" sz="1600" dirty="0" err="1"/>
              <a:t>силлабусы</a:t>
            </a:r>
            <a:r>
              <a:rPr lang="ru-RU" sz="1600" dirty="0"/>
              <a:t> </a:t>
            </a:r>
            <a:r>
              <a:rPr lang="ru-RU" sz="1600" dirty="0" smtClean="0"/>
              <a:t>(в </a:t>
            </a:r>
            <a:r>
              <a:rPr lang="ru-RU" sz="1600" dirty="0"/>
              <a:t>формате PDF и </a:t>
            </a:r>
            <a:r>
              <a:rPr lang="ru-RU" sz="1600" dirty="0" smtClean="0"/>
              <a:t>WORD), которые будут </a:t>
            </a:r>
            <a:r>
              <a:rPr lang="ru-RU" sz="1600" dirty="0"/>
              <a:t>прикрепляться в  </a:t>
            </a:r>
            <a:r>
              <a:rPr lang="ru-RU" sz="1600" dirty="0" smtClean="0"/>
              <a:t>ЕСУВО (esuvo.platonus.kz)</a:t>
            </a:r>
            <a:endParaRPr lang="ru-RU" sz="16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802620" y="5272975"/>
            <a:ext cx="5919480" cy="904242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3972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4237436" y="4241641"/>
            <a:ext cx="3668977" cy="504056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Анализ ОЛ и рекомендаций экспертов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АЛГОРИТМ ПО БЛОКУ ЭКСПЕРТНОЙ ОЦЕНКИ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618873" y="1918573"/>
            <a:ext cx="12001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AA954"/>
                </a:solidFill>
                <a:cs typeface="Times New Roman" panose="02020603050405020304" pitchFamily="18" charset="0"/>
              </a:rPr>
              <a:t>Эксперт №1</a:t>
            </a:r>
            <a:endParaRPr lang="ru-RU" sz="1400" b="1" dirty="0">
              <a:solidFill>
                <a:srgbClr val="FAA954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12265" y="1918573"/>
            <a:ext cx="12001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AA954"/>
                </a:solidFill>
                <a:cs typeface="Times New Roman" panose="02020603050405020304" pitchFamily="18" charset="0"/>
              </a:rPr>
              <a:t>Эксперт №</a:t>
            </a:r>
            <a:r>
              <a:rPr lang="en-US" sz="1400" b="1" dirty="0" smtClean="0">
                <a:solidFill>
                  <a:srgbClr val="FAA954"/>
                </a:solidFill>
                <a:cs typeface="Times New Roman" panose="02020603050405020304" pitchFamily="18" charset="0"/>
              </a:rPr>
              <a:t>2</a:t>
            </a:r>
            <a:endParaRPr lang="ru-RU" sz="1400" b="1" dirty="0">
              <a:solidFill>
                <a:srgbClr val="FAA954"/>
              </a:solidFill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343005" y="1918573"/>
            <a:ext cx="12001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FAA954"/>
                </a:solidFill>
                <a:cs typeface="Times New Roman" panose="02020603050405020304" pitchFamily="18" charset="0"/>
              </a:rPr>
              <a:t>Эксперт №</a:t>
            </a:r>
            <a:r>
              <a:rPr lang="en-US" sz="1400" b="1" dirty="0" smtClean="0">
                <a:solidFill>
                  <a:srgbClr val="FAA954"/>
                </a:solidFill>
                <a:cs typeface="Times New Roman" panose="02020603050405020304" pitchFamily="18" charset="0"/>
              </a:rPr>
              <a:t>3</a:t>
            </a:r>
            <a:endParaRPr lang="ru-RU" sz="1400" b="1" dirty="0">
              <a:solidFill>
                <a:srgbClr val="FAA954"/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331265" y="5949697"/>
            <a:ext cx="3562147" cy="501374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Отправка рекомендаций вузам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4" name="Picture 2" descr="Картинки по запросу &quot;книга .png&quot;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97067" y="2212702"/>
            <a:ext cx="534575" cy="53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Картинки по запросу &quot;ученый .png&quot;"/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7927" y="840172"/>
            <a:ext cx="1092051" cy="1092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Картинки по запросу &quot;с каской .png&quot;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56112" y="785580"/>
            <a:ext cx="1092049" cy="1092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Картинки по запросу &quot;эксперт .png&quot;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13590" y="873571"/>
            <a:ext cx="916063" cy="91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1155626" y="3656225"/>
            <a:ext cx="2636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Система </a:t>
            </a:r>
            <a:r>
              <a:rPr lang="kk-KZ" b="1" dirty="0">
                <a:solidFill>
                  <a:schemeClr val="accent1">
                    <a:lumMod val="50000"/>
                  </a:schemeClr>
                </a:solidFill>
              </a:rPr>
              <a:t>оценки: Да/Нет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971152" y="3373757"/>
            <a:ext cx="3005376" cy="903491"/>
          </a:xfrm>
          <a:prstGeom prst="roundRect">
            <a:avLst/>
          </a:prstGeom>
          <a:noFill/>
          <a:ln w="285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166598" y="3039568"/>
            <a:ext cx="1183696" cy="47983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200" b="1" dirty="0" smtClean="0">
                <a:solidFill>
                  <a:srgbClr val="FAA954"/>
                </a:solidFill>
              </a:rPr>
              <a:t>Рейтинг-2019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360480" y="3656225"/>
            <a:ext cx="26533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Система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оценки: 1-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8184475" y="3373757"/>
            <a:ext cx="3005376" cy="903491"/>
          </a:xfrm>
          <a:prstGeom prst="roundRect">
            <a:avLst/>
          </a:prstGeom>
          <a:noFill/>
          <a:ln w="285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9761196" y="3039567"/>
            <a:ext cx="1183696" cy="47983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200" b="1" dirty="0" smtClean="0">
                <a:solidFill>
                  <a:srgbClr val="FAA954"/>
                </a:solidFill>
              </a:rPr>
              <a:t>Рейтинг-2020</a:t>
            </a:r>
            <a:endParaRPr lang="ru-RU" sz="1200" b="1" dirty="0">
              <a:solidFill>
                <a:srgbClr val="FAA954"/>
              </a:solidFill>
            </a:endParaRPr>
          </a:p>
        </p:txBody>
      </p:sp>
      <p:pic>
        <p:nvPicPr>
          <p:cNvPr id="3084" name="Picture 12" descr="Картинки по запросу &quot;анализ .png&quot;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85904" y="3117406"/>
            <a:ext cx="1172039" cy="1172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авая фигурная скобка 22"/>
          <p:cNvSpPr/>
          <p:nvPr/>
        </p:nvSpPr>
        <p:spPr>
          <a:xfrm rot="5400000">
            <a:off x="5959493" y="764381"/>
            <a:ext cx="224253" cy="4250886"/>
          </a:xfrm>
          <a:prstGeom prst="rightBrac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Freeform 23"/>
          <p:cNvSpPr>
            <a:spLocks noEditPoints="1"/>
          </p:cNvSpPr>
          <p:nvPr/>
        </p:nvSpPr>
        <p:spPr bwMode="auto">
          <a:xfrm>
            <a:off x="5695612" y="5308981"/>
            <a:ext cx="778862" cy="599772"/>
          </a:xfrm>
          <a:custGeom>
            <a:avLst/>
            <a:gdLst/>
            <a:ahLst/>
            <a:cxnLst>
              <a:cxn ang="0">
                <a:pos x="68" y="14"/>
              </a:cxn>
              <a:cxn ang="0">
                <a:pos x="68" y="18"/>
              </a:cxn>
              <a:cxn ang="0">
                <a:pos x="64" y="18"/>
              </a:cxn>
              <a:cxn ang="0">
                <a:pos x="61" y="21"/>
              </a:cxn>
              <a:cxn ang="0">
                <a:pos x="7" y="21"/>
              </a:cxn>
              <a:cxn ang="0">
                <a:pos x="4" y="18"/>
              </a:cxn>
              <a:cxn ang="0">
                <a:pos x="0" y="18"/>
              </a:cxn>
              <a:cxn ang="0">
                <a:pos x="0" y="14"/>
              </a:cxn>
              <a:cxn ang="0">
                <a:pos x="34" y="0"/>
              </a:cxn>
              <a:cxn ang="0">
                <a:pos x="68" y="14"/>
              </a:cxn>
              <a:cxn ang="0">
                <a:pos x="68" y="60"/>
              </a:cxn>
              <a:cxn ang="0">
                <a:pos x="68" y="64"/>
              </a:cxn>
              <a:cxn ang="0">
                <a:pos x="0" y="64"/>
              </a:cxn>
              <a:cxn ang="0">
                <a:pos x="0" y="60"/>
              </a:cxn>
              <a:cxn ang="0">
                <a:pos x="2" y="57"/>
              </a:cxn>
              <a:cxn ang="0">
                <a:pos x="66" y="57"/>
              </a:cxn>
              <a:cxn ang="0">
                <a:pos x="68" y="60"/>
              </a:cxn>
              <a:cxn ang="0">
                <a:pos x="18" y="23"/>
              </a:cxn>
              <a:cxn ang="0">
                <a:pos x="18" y="50"/>
              </a:cxn>
              <a:cxn ang="0">
                <a:pos x="23" y="50"/>
              </a:cxn>
              <a:cxn ang="0">
                <a:pos x="23" y="23"/>
              </a:cxn>
              <a:cxn ang="0">
                <a:pos x="32" y="23"/>
              </a:cxn>
              <a:cxn ang="0">
                <a:pos x="32" y="50"/>
              </a:cxn>
              <a:cxn ang="0">
                <a:pos x="36" y="50"/>
              </a:cxn>
              <a:cxn ang="0">
                <a:pos x="36" y="23"/>
              </a:cxn>
              <a:cxn ang="0">
                <a:pos x="45" y="23"/>
              </a:cxn>
              <a:cxn ang="0">
                <a:pos x="45" y="50"/>
              </a:cxn>
              <a:cxn ang="0">
                <a:pos x="50" y="50"/>
              </a:cxn>
              <a:cxn ang="0">
                <a:pos x="50" y="23"/>
              </a:cxn>
              <a:cxn ang="0">
                <a:pos x="59" y="23"/>
              </a:cxn>
              <a:cxn ang="0">
                <a:pos x="59" y="50"/>
              </a:cxn>
              <a:cxn ang="0">
                <a:pos x="61" y="50"/>
              </a:cxn>
              <a:cxn ang="0">
                <a:pos x="64" y="53"/>
              </a:cxn>
              <a:cxn ang="0">
                <a:pos x="64" y="55"/>
              </a:cxn>
              <a:cxn ang="0">
                <a:pos x="4" y="55"/>
              </a:cxn>
              <a:cxn ang="0">
                <a:pos x="4" y="53"/>
              </a:cxn>
              <a:cxn ang="0">
                <a:pos x="7" y="50"/>
              </a:cxn>
              <a:cxn ang="0">
                <a:pos x="9" y="50"/>
              </a:cxn>
              <a:cxn ang="0">
                <a:pos x="9" y="23"/>
              </a:cxn>
              <a:cxn ang="0">
                <a:pos x="18" y="23"/>
              </a:cxn>
            </a:cxnLst>
            <a:rect l="0" t="0" r="r" b="b"/>
            <a:pathLst>
              <a:path w="68" h="64">
                <a:moveTo>
                  <a:pt x="68" y="14"/>
                </a:moveTo>
                <a:cubicBezTo>
                  <a:pt x="68" y="18"/>
                  <a:pt x="68" y="18"/>
                  <a:pt x="68" y="18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20"/>
                  <a:pt x="63" y="21"/>
                  <a:pt x="61" y="21"/>
                </a:cubicBezTo>
                <a:cubicBezTo>
                  <a:pt x="7" y="21"/>
                  <a:pt x="7" y="21"/>
                  <a:pt x="7" y="21"/>
                </a:cubicBezTo>
                <a:cubicBezTo>
                  <a:pt x="5" y="21"/>
                  <a:pt x="4" y="20"/>
                  <a:pt x="4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4"/>
                  <a:pt x="0" y="14"/>
                  <a:pt x="0" y="14"/>
                </a:cubicBezTo>
                <a:cubicBezTo>
                  <a:pt x="34" y="0"/>
                  <a:pt x="34" y="0"/>
                  <a:pt x="34" y="0"/>
                </a:cubicBezTo>
                <a:lnTo>
                  <a:pt x="68" y="14"/>
                </a:lnTo>
                <a:close/>
                <a:moveTo>
                  <a:pt x="68" y="60"/>
                </a:moveTo>
                <a:cubicBezTo>
                  <a:pt x="68" y="64"/>
                  <a:pt x="68" y="64"/>
                  <a:pt x="68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58"/>
                  <a:pt x="1" y="57"/>
                  <a:pt x="2" y="57"/>
                </a:cubicBezTo>
                <a:cubicBezTo>
                  <a:pt x="66" y="57"/>
                  <a:pt x="66" y="57"/>
                  <a:pt x="66" y="57"/>
                </a:cubicBezTo>
                <a:cubicBezTo>
                  <a:pt x="67" y="57"/>
                  <a:pt x="68" y="58"/>
                  <a:pt x="68" y="60"/>
                </a:cubicBezTo>
                <a:close/>
                <a:moveTo>
                  <a:pt x="18" y="23"/>
                </a:moveTo>
                <a:cubicBezTo>
                  <a:pt x="18" y="50"/>
                  <a:pt x="18" y="50"/>
                  <a:pt x="18" y="50"/>
                </a:cubicBezTo>
                <a:cubicBezTo>
                  <a:pt x="23" y="50"/>
                  <a:pt x="23" y="50"/>
                  <a:pt x="23" y="50"/>
                </a:cubicBezTo>
                <a:cubicBezTo>
                  <a:pt x="23" y="23"/>
                  <a:pt x="23" y="23"/>
                  <a:pt x="23" y="23"/>
                </a:cubicBezTo>
                <a:cubicBezTo>
                  <a:pt x="32" y="23"/>
                  <a:pt x="32" y="23"/>
                  <a:pt x="32" y="23"/>
                </a:cubicBezTo>
                <a:cubicBezTo>
                  <a:pt x="32" y="50"/>
                  <a:pt x="32" y="50"/>
                  <a:pt x="32" y="50"/>
                </a:cubicBezTo>
                <a:cubicBezTo>
                  <a:pt x="36" y="50"/>
                  <a:pt x="36" y="50"/>
                  <a:pt x="36" y="50"/>
                </a:cubicBezTo>
                <a:cubicBezTo>
                  <a:pt x="36" y="23"/>
                  <a:pt x="36" y="23"/>
                  <a:pt x="36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50"/>
                  <a:pt x="45" y="50"/>
                  <a:pt x="45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23"/>
                  <a:pt x="50" y="23"/>
                  <a:pt x="50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50"/>
                  <a:pt x="59" y="50"/>
                  <a:pt x="59" y="50"/>
                </a:cubicBezTo>
                <a:cubicBezTo>
                  <a:pt x="61" y="50"/>
                  <a:pt x="61" y="50"/>
                  <a:pt x="61" y="50"/>
                </a:cubicBezTo>
                <a:cubicBezTo>
                  <a:pt x="63" y="50"/>
                  <a:pt x="64" y="51"/>
                  <a:pt x="64" y="53"/>
                </a:cubicBezTo>
                <a:cubicBezTo>
                  <a:pt x="64" y="55"/>
                  <a:pt x="64" y="55"/>
                  <a:pt x="64" y="55"/>
                </a:cubicBezTo>
                <a:cubicBezTo>
                  <a:pt x="4" y="55"/>
                  <a:pt x="4" y="55"/>
                  <a:pt x="4" y="55"/>
                </a:cubicBezTo>
                <a:cubicBezTo>
                  <a:pt x="4" y="53"/>
                  <a:pt x="4" y="53"/>
                  <a:pt x="4" y="53"/>
                </a:cubicBezTo>
                <a:cubicBezTo>
                  <a:pt x="4" y="51"/>
                  <a:pt x="5" y="50"/>
                  <a:pt x="7" y="50"/>
                </a:cubicBezTo>
                <a:cubicBezTo>
                  <a:pt x="9" y="50"/>
                  <a:pt x="9" y="50"/>
                  <a:pt x="9" y="50"/>
                </a:cubicBezTo>
                <a:cubicBezTo>
                  <a:pt x="9" y="23"/>
                  <a:pt x="9" y="23"/>
                  <a:pt x="9" y="23"/>
                </a:cubicBezTo>
                <a:lnTo>
                  <a:pt x="18" y="2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srgbClr val="262626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281648" y="4268937"/>
            <a:ext cx="3583821" cy="453189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Picture 2" descr="Картинки по запросу &quot;книга .png&quot;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04333" y="2212702"/>
            <a:ext cx="534575" cy="53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Картинки по запросу &quot;книга .png&quot;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62144" y="2212701"/>
            <a:ext cx="534575" cy="53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Стрелка вниз 39"/>
          <p:cNvSpPr/>
          <p:nvPr/>
        </p:nvSpPr>
        <p:spPr>
          <a:xfrm>
            <a:off x="5802697" y="4845575"/>
            <a:ext cx="543128" cy="363528"/>
          </a:xfrm>
          <a:prstGeom prst="downArrow">
            <a:avLst/>
          </a:prstGeom>
          <a:solidFill>
            <a:srgbClr val="FAA95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4293132" y="5997882"/>
            <a:ext cx="3583821" cy="453189"/>
          </a:xfrm>
          <a:prstGeom prst="round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9027423" y="1657540"/>
            <a:ext cx="26512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таж не менее 5 лет 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в соответствующей отрасли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4100" name="Picture 4" descr="Картинки по запросу &quot;опыт .png&quot;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36846" y="1031244"/>
            <a:ext cx="632393" cy="632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кругленный прямоугольник 2"/>
          <p:cNvSpPr/>
          <p:nvPr/>
        </p:nvSpPr>
        <p:spPr>
          <a:xfrm>
            <a:off x="8876389" y="873572"/>
            <a:ext cx="2953309" cy="1430300"/>
          </a:xfrm>
          <a:prstGeom prst="roundRect">
            <a:avLst/>
          </a:prstGeom>
          <a:noFill/>
          <a:ln w="19050">
            <a:solidFill>
              <a:srgbClr val="FAA95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07635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КРИТЕРИИ БЛОКА «ДОСТИЖЕНИЯ ОБУЧАЮЩИХСЯ»</a:t>
            </a:r>
            <a:endParaRPr lang="ru-RU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27" name="Picture 10" descr="Image result for флаг 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4972" y="926448"/>
            <a:ext cx="926993" cy="92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1424106" y="986486"/>
            <a:ext cx="10317707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13. Количество студентов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, получивших образование в рамках академической мобильности (не менее одного семестра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) (3%)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оказатель, демонстрирующий деятельность вузов в области внешней академической мобильности</a:t>
            </a:r>
          </a:p>
          <a:p>
            <a:pPr algn="just"/>
            <a:endParaRPr lang="ru-RU" b="1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тверждение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т вуз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рикрепление в ЕСУВО (esuvo.platonus.kz) скан. варианта приказа ректора с печатью и подписью об академической мобильности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тудентов</a:t>
            </a:r>
            <a:endParaRPr lang="ru-RU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29" name="Picture 12" descr="Image result for лампочка 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4973" y="2807652"/>
            <a:ext cx="855284" cy="855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1424105" y="2912128"/>
            <a:ext cx="10317707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14. Реализованные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оекты студентов, 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Start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-UP (2%)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критерий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демонстрирующий реальную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аботу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Start-UP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-площадок </a:t>
            </a:r>
            <a:r>
              <a:rPr lang="kk-KZ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на базе вузов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х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достижения</a:t>
            </a:r>
          </a:p>
          <a:p>
            <a:pPr algn="just"/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тверждение от вуз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прикрепление в ЕСУВО (esuvo.platonus.kz) скан. варианта патента и авторского свидетельство, подтвержденные Министерством юстиции РК, сертификаты, дипломы с подписями и печатью</a:t>
            </a:r>
            <a:endParaRPr lang="ru-RU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7170" name="Picture 2" descr="Картинки по запросу &quot;магистр .png&quot;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4972" y="4431882"/>
            <a:ext cx="855285" cy="857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1424106" y="4537231"/>
            <a:ext cx="1031770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15. Доля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тудентов,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одолживших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бучение в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агистратуре (2%)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– критерий, демонстрирующий </a:t>
            </a:r>
            <a:r>
              <a:rPr lang="kk-KZ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количество выпускников, продолживших обучение в магистратуре</a:t>
            </a:r>
          </a:p>
          <a:p>
            <a:pPr algn="just"/>
            <a:endParaRPr lang="kk-KZ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just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уз обязан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актуализировать все данные по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агистрантам,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бучающихся на данный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омент,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esuvo.platonus.kz</a:t>
            </a:r>
            <a:endParaRPr lang="ru-RU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391876" y="2082800"/>
            <a:ext cx="10357144" cy="571500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391876" y="3746500"/>
            <a:ext cx="10357144" cy="571500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391876" y="5359400"/>
            <a:ext cx="10357144" cy="360082"/>
          </a:xfrm>
          <a:prstGeom prst="roundRect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7871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2" name="Изображение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45838" y="5894388"/>
            <a:ext cx="882650" cy="80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D7C72447-7935-48F6-809E-B0E7D6ECA2B2}"/>
              </a:ext>
            </a:extLst>
          </p:cNvPr>
          <p:cNvSpPr/>
          <p:nvPr/>
        </p:nvSpPr>
        <p:spPr>
          <a:xfrm>
            <a:off x="0" y="3590925"/>
            <a:ext cx="4867275" cy="2303463"/>
          </a:xfrm>
          <a:prstGeom prst="rect">
            <a:avLst/>
          </a:prstGeom>
          <a:solidFill>
            <a:srgbClr val="014C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1924" name="Прямоугольник 6"/>
          <p:cNvSpPr>
            <a:spLocks noChangeArrowheads="1"/>
          </p:cNvSpPr>
          <p:nvPr/>
        </p:nvSpPr>
        <p:spPr bwMode="auto">
          <a:xfrm>
            <a:off x="284163" y="3751263"/>
            <a:ext cx="4086225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БЛАГОДАРИМ ЗА ВНИМАНИЕ!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atameken.kz</a:t>
            </a:r>
            <a:endParaRPr lang="ru-RU" altLang="ru-RU" sz="1400" dirty="0">
              <a:solidFill>
                <a:srgbClr val="F2F2F2"/>
              </a:solidFill>
              <a:latin typeface="PT Sans Narrow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010000, город </a:t>
            </a:r>
            <a:r>
              <a:rPr lang="ru-RU" altLang="ru-RU" sz="1400" dirty="0" err="1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Нур</a:t>
            </a:r>
            <a:r>
              <a:rPr lang="ru-RU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-Султан, ул. </a:t>
            </a:r>
            <a:r>
              <a:rPr lang="ru-RU" altLang="ru-RU" sz="1400" dirty="0" err="1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Кунаева</a:t>
            </a:r>
            <a:r>
              <a:rPr lang="ru-RU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, 8, </a:t>
            </a:r>
            <a:r>
              <a:rPr lang="ru-RU" altLang="ru-RU" sz="1400" dirty="0" smtClean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БЦ «Изумрудный </a:t>
            </a:r>
            <a:r>
              <a:rPr lang="ru-RU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квартал», блок «Б», 26 этаж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+</a:t>
            </a:r>
            <a:r>
              <a:rPr lang="ru-RU" altLang="ru-RU" sz="1400" dirty="0" smtClean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7 (</a:t>
            </a:r>
            <a:r>
              <a:rPr lang="ru-RU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7172) 919 300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F2F2F2"/>
                </a:solidFill>
                <a:latin typeface="PT Sans Narrow"/>
                <a:cs typeface="Arial" panose="020B0604020202020204" pitchFamily="34" charset="0"/>
              </a:rPr>
              <a:t>Бесплатно по всему Казахстану: 1432</a:t>
            </a:r>
          </a:p>
        </p:txBody>
      </p:sp>
      <p:pic>
        <p:nvPicPr>
          <p:cNvPr id="81926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67275" y="266700"/>
            <a:ext cx="220345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39805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спределение весов по </a:t>
            </a:r>
            <a:r>
              <a:rPr lang="ru-RU" dirty="0" smtClean="0"/>
              <a:t>критериям</a:t>
            </a:r>
            <a:r>
              <a:rPr lang="en-US" dirty="0" smtClean="0"/>
              <a:t> </a:t>
            </a:r>
            <a:r>
              <a:rPr lang="ru-RU" dirty="0" smtClean="0"/>
              <a:t>за </a:t>
            </a:r>
            <a:r>
              <a:rPr lang="en-US" dirty="0" smtClean="0"/>
              <a:t>20</a:t>
            </a:r>
            <a:r>
              <a:rPr lang="ru-RU" dirty="0" smtClean="0"/>
              <a:t>20</a:t>
            </a:r>
            <a:r>
              <a:rPr lang="en-US" dirty="0" smtClean="0"/>
              <a:t> </a:t>
            </a:r>
            <a:r>
              <a:rPr lang="ru-RU" dirty="0" smtClean="0"/>
              <a:t>год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32856181"/>
              </p:ext>
            </p:extLst>
          </p:nvPr>
        </p:nvGraphicFramePr>
        <p:xfrm>
          <a:off x="327547" y="730376"/>
          <a:ext cx="11559652" cy="5622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8338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760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382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12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итер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с критер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точник информац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12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ьерные перспективы </a:t>
                      </a:r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ускнико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"ЦРТР", АИС "ООП"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 fontAlgn="b">
                        <a:buFont typeface="+mj-lt"/>
                        <a:buNone/>
                      </a:pP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трудоустройст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  <a:r>
                        <a:rPr lang="ru-RU" sz="10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0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"ЦРТР", АИС "ООП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 fontAlgn="b">
                        <a:buFont typeface="+mj-lt"/>
                        <a:buNone/>
                      </a:pP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олжительность поиска 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0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"ЦРТР", АИС "ООП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indent="0" algn="l" fontAlgn="b">
                        <a:buFont typeface="+mj-lt"/>
                        <a:buNone/>
                      </a:pP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яя заработная пла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0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"</a:t>
                      </a:r>
                      <a:r>
                        <a:rPr lang="ru-RU" sz="105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РТР</a:t>
                      </a:r>
                      <a:r>
                        <a:rPr lang="ru-RU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, АИС "ООП"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чество </a:t>
                      </a:r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, НПП, эксперты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ОП с работодателям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редитация ОП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</a:t>
                      </a: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естр </a:t>
                      </a: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3 МОН Р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ждународные сертификационные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ы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П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и в ОП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</a:t>
                      </a: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привлеченных к учебному процессу специалистов с производства по соответствующей отрасл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</a:t>
                      </a:r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требованность образовательных программ среди абитуриентов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%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</a:t>
                      </a:r>
                      <a:r>
                        <a:rPr lang="ru-RU" sz="120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К, НЦТ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тветствие содержания требованиям рынка труда </a:t>
                      </a: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0%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, </a:t>
                      </a: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ПП</a:t>
                      </a: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тветствие результатов обучения требованиям соответствующих отраслей (ПС,ОРК) и/или требованиям работодателей </a:t>
                      </a: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0%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, НПП</a:t>
                      </a: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ктико-ориентированность дисциплины</a:t>
                      </a: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0%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, НПП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обучающихс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, НПП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студентов, получивших образование в рамках академической мобильност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</a:t>
                      </a: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ованные проекты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-up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</a:t>
                      </a: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студентов, продолживших обучение в магистратуре</a:t>
                      </a: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10" marR="5810" marT="581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УЗ</a:t>
                      </a:r>
                    </a:p>
                  </a:txBody>
                  <a:tcPr marL="5810" marR="5810" marT="5810" marB="0" anchor="ctr"/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703494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Группа 65"/>
          <p:cNvGrpSpPr/>
          <p:nvPr/>
        </p:nvGrpSpPr>
        <p:grpSpPr>
          <a:xfrm>
            <a:off x="10062316" y="1822987"/>
            <a:ext cx="1608138" cy="718106"/>
            <a:chOff x="598118" y="2503985"/>
            <a:chExt cx="1608138" cy="718106"/>
          </a:xfrm>
        </p:grpSpPr>
        <p:sp>
          <p:nvSpPr>
            <p:cNvPr id="67" name="Скругленный прямоугольник 66"/>
            <p:cNvSpPr/>
            <p:nvPr/>
          </p:nvSpPr>
          <p:spPr>
            <a:xfrm>
              <a:off x="598118" y="2503985"/>
              <a:ext cx="1608138" cy="718106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Rectangle 32"/>
            <p:cNvSpPr>
              <a:spLocks noChangeArrowheads="1"/>
            </p:cNvSpPr>
            <p:nvPr/>
          </p:nvSpPr>
          <p:spPr bwMode="auto">
            <a:xfrm>
              <a:off x="853063" y="2624622"/>
              <a:ext cx="1098250" cy="49244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ru-RU" sz="3200" b="1" i="0" u="none" strike="noStrike" cap="none" normalizeH="0" baseline="0" dirty="0" smtClean="0">
                  <a:ln>
                    <a:noFill/>
                  </a:ln>
                  <a:solidFill>
                    <a:srgbClr val="FAA954"/>
                  </a:solidFill>
                  <a:effectLst/>
                  <a:latin typeface="Times New Roman" pitchFamily="18" charset="0"/>
                  <a:cs typeface="Arial" pitchFamily="34" charset="0"/>
                </a:rPr>
                <a:t>ЦРТР</a:t>
              </a:r>
              <a:endParaRPr kumimoji="0" lang="ru-RU" altLang="ru-RU" sz="3600" b="1" i="0" u="none" strike="noStrike" cap="none" normalizeH="0" baseline="0" dirty="0" smtClean="0">
                <a:ln>
                  <a:noFill/>
                </a:ln>
                <a:solidFill>
                  <a:srgbClr val="FAA954"/>
                </a:solidFill>
                <a:effectLst/>
                <a:cs typeface="Arial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ЛГОРИТМ ПОЛУЧЕНИЯ ДАННЫХ ПО БЛОКУ «КАРЬЕРНЫЕ ПЕРСПЕКТИВЫ ВЫПУСКНИКОВ»</a:t>
            </a:r>
            <a:endParaRPr lang="ru-RU" dirty="0"/>
          </a:p>
        </p:txBody>
      </p:sp>
      <p:pic>
        <p:nvPicPr>
          <p:cNvPr id="7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99686" y="1043888"/>
            <a:ext cx="1373401" cy="708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30"/>
          <p:cNvSpPr>
            <a:spLocks noChangeArrowheads="1"/>
          </p:cNvSpPr>
          <p:nvPr/>
        </p:nvSpPr>
        <p:spPr bwMode="auto">
          <a:xfrm>
            <a:off x="8947134" y="1180496"/>
            <a:ext cx="6412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Запрос</a:t>
            </a:r>
            <a:endParaRPr kumimoji="0" lang="ru-RU" altLang="ru-RU" sz="18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9" name="Rectangle 130"/>
          <p:cNvSpPr>
            <a:spLocks noChangeArrowheads="1"/>
          </p:cNvSpPr>
          <p:nvPr/>
        </p:nvSpPr>
        <p:spPr bwMode="auto">
          <a:xfrm>
            <a:off x="5591290" y="1083355"/>
            <a:ext cx="85600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Доступ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400" b="1" i="1" dirty="0">
                <a:solidFill>
                  <a:srgbClr val="1E4E79"/>
                </a:solidFill>
                <a:latin typeface="+mn-lt"/>
              </a:rPr>
              <a:t>к</a:t>
            </a:r>
            <a:r>
              <a:rPr lang="ru-RU" altLang="ru-RU" sz="1400" b="1" i="1" dirty="0" smtClean="0">
                <a:solidFill>
                  <a:srgbClr val="1E4E79"/>
                </a:solidFill>
                <a:latin typeface="+mn-lt"/>
              </a:rPr>
              <a:t> данным</a:t>
            </a:r>
            <a:endParaRPr kumimoji="0" lang="ru-RU" altLang="ru-RU" sz="18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6200000">
            <a:off x="5810175" y="1638892"/>
            <a:ext cx="586698" cy="110191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6200000">
            <a:off x="8974386" y="1638891"/>
            <a:ext cx="586698" cy="1101910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547318" y="1822987"/>
            <a:ext cx="1608138" cy="718106"/>
            <a:chOff x="598118" y="2503985"/>
            <a:chExt cx="1608138" cy="718106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598118" y="2503985"/>
              <a:ext cx="1608138" cy="718106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Rectangle 32"/>
            <p:cNvSpPr>
              <a:spLocks noChangeArrowheads="1"/>
            </p:cNvSpPr>
            <p:nvPr/>
          </p:nvSpPr>
          <p:spPr bwMode="auto">
            <a:xfrm>
              <a:off x="1025577" y="2624622"/>
              <a:ext cx="753220" cy="49244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ru-RU" sz="3200" b="1" i="0" u="none" strike="noStrike" cap="none" normalizeH="0" baseline="0" dirty="0" smtClean="0">
                  <a:ln>
                    <a:noFill/>
                  </a:ln>
                  <a:solidFill>
                    <a:srgbClr val="FAA954"/>
                  </a:solidFill>
                  <a:effectLst/>
                  <a:latin typeface="Times New Roman" pitchFamily="18" charset="0"/>
                  <a:cs typeface="Arial" pitchFamily="34" charset="0"/>
                </a:rPr>
                <a:t>ВУЗ</a:t>
              </a:r>
              <a:endParaRPr kumimoji="0" lang="ru-RU" altLang="ru-RU" sz="3600" b="1" i="0" u="none" strike="noStrike" cap="none" normalizeH="0" baseline="0" dirty="0" smtClean="0">
                <a:ln>
                  <a:noFill/>
                </a:ln>
                <a:solidFill>
                  <a:srgbClr val="FAA954"/>
                </a:solidFill>
                <a:effectLst/>
                <a:cs typeface="Arial" pitchFamily="34" charset="0"/>
              </a:endParaRPr>
            </a:p>
          </p:txBody>
        </p:sp>
      </p:grpSp>
      <p:sp>
        <p:nvSpPr>
          <p:cNvPr id="15" name="Freeform 23"/>
          <p:cNvSpPr>
            <a:spLocks noEditPoints="1"/>
          </p:cNvSpPr>
          <p:nvPr/>
        </p:nvSpPr>
        <p:spPr bwMode="auto">
          <a:xfrm>
            <a:off x="845129" y="984355"/>
            <a:ext cx="1012516" cy="779700"/>
          </a:xfrm>
          <a:custGeom>
            <a:avLst/>
            <a:gdLst/>
            <a:ahLst/>
            <a:cxnLst>
              <a:cxn ang="0">
                <a:pos x="68" y="14"/>
              </a:cxn>
              <a:cxn ang="0">
                <a:pos x="68" y="18"/>
              </a:cxn>
              <a:cxn ang="0">
                <a:pos x="64" y="18"/>
              </a:cxn>
              <a:cxn ang="0">
                <a:pos x="61" y="21"/>
              </a:cxn>
              <a:cxn ang="0">
                <a:pos x="7" y="21"/>
              </a:cxn>
              <a:cxn ang="0">
                <a:pos x="4" y="18"/>
              </a:cxn>
              <a:cxn ang="0">
                <a:pos x="0" y="18"/>
              </a:cxn>
              <a:cxn ang="0">
                <a:pos x="0" y="14"/>
              </a:cxn>
              <a:cxn ang="0">
                <a:pos x="34" y="0"/>
              </a:cxn>
              <a:cxn ang="0">
                <a:pos x="68" y="14"/>
              </a:cxn>
              <a:cxn ang="0">
                <a:pos x="68" y="60"/>
              </a:cxn>
              <a:cxn ang="0">
                <a:pos x="68" y="64"/>
              </a:cxn>
              <a:cxn ang="0">
                <a:pos x="0" y="64"/>
              </a:cxn>
              <a:cxn ang="0">
                <a:pos x="0" y="60"/>
              </a:cxn>
              <a:cxn ang="0">
                <a:pos x="2" y="57"/>
              </a:cxn>
              <a:cxn ang="0">
                <a:pos x="66" y="57"/>
              </a:cxn>
              <a:cxn ang="0">
                <a:pos x="68" y="60"/>
              </a:cxn>
              <a:cxn ang="0">
                <a:pos x="18" y="23"/>
              </a:cxn>
              <a:cxn ang="0">
                <a:pos x="18" y="50"/>
              </a:cxn>
              <a:cxn ang="0">
                <a:pos x="23" y="50"/>
              </a:cxn>
              <a:cxn ang="0">
                <a:pos x="23" y="23"/>
              </a:cxn>
              <a:cxn ang="0">
                <a:pos x="32" y="23"/>
              </a:cxn>
              <a:cxn ang="0">
                <a:pos x="32" y="50"/>
              </a:cxn>
              <a:cxn ang="0">
                <a:pos x="36" y="50"/>
              </a:cxn>
              <a:cxn ang="0">
                <a:pos x="36" y="23"/>
              </a:cxn>
              <a:cxn ang="0">
                <a:pos x="45" y="23"/>
              </a:cxn>
              <a:cxn ang="0">
                <a:pos x="45" y="50"/>
              </a:cxn>
              <a:cxn ang="0">
                <a:pos x="50" y="50"/>
              </a:cxn>
              <a:cxn ang="0">
                <a:pos x="50" y="23"/>
              </a:cxn>
              <a:cxn ang="0">
                <a:pos x="59" y="23"/>
              </a:cxn>
              <a:cxn ang="0">
                <a:pos x="59" y="50"/>
              </a:cxn>
              <a:cxn ang="0">
                <a:pos x="61" y="50"/>
              </a:cxn>
              <a:cxn ang="0">
                <a:pos x="64" y="53"/>
              </a:cxn>
              <a:cxn ang="0">
                <a:pos x="64" y="55"/>
              </a:cxn>
              <a:cxn ang="0">
                <a:pos x="4" y="55"/>
              </a:cxn>
              <a:cxn ang="0">
                <a:pos x="4" y="53"/>
              </a:cxn>
              <a:cxn ang="0">
                <a:pos x="7" y="50"/>
              </a:cxn>
              <a:cxn ang="0">
                <a:pos x="9" y="50"/>
              </a:cxn>
              <a:cxn ang="0">
                <a:pos x="9" y="23"/>
              </a:cxn>
              <a:cxn ang="0">
                <a:pos x="18" y="23"/>
              </a:cxn>
            </a:cxnLst>
            <a:rect l="0" t="0" r="r" b="b"/>
            <a:pathLst>
              <a:path w="68" h="64">
                <a:moveTo>
                  <a:pt x="68" y="14"/>
                </a:moveTo>
                <a:cubicBezTo>
                  <a:pt x="68" y="18"/>
                  <a:pt x="68" y="18"/>
                  <a:pt x="68" y="18"/>
                </a:cubicBezTo>
                <a:cubicBezTo>
                  <a:pt x="64" y="18"/>
                  <a:pt x="64" y="18"/>
                  <a:pt x="64" y="18"/>
                </a:cubicBezTo>
                <a:cubicBezTo>
                  <a:pt x="64" y="20"/>
                  <a:pt x="63" y="21"/>
                  <a:pt x="61" y="21"/>
                </a:cubicBezTo>
                <a:cubicBezTo>
                  <a:pt x="7" y="21"/>
                  <a:pt x="7" y="21"/>
                  <a:pt x="7" y="21"/>
                </a:cubicBezTo>
                <a:cubicBezTo>
                  <a:pt x="5" y="21"/>
                  <a:pt x="4" y="20"/>
                  <a:pt x="4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4"/>
                  <a:pt x="0" y="14"/>
                  <a:pt x="0" y="14"/>
                </a:cubicBezTo>
                <a:cubicBezTo>
                  <a:pt x="34" y="0"/>
                  <a:pt x="34" y="0"/>
                  <a:pt x="34" y="0"/>
                </a:cubicBezTo>
                <a:lnTo>
                  <a:pt x="68" y="14"/>
                </a:lnTo>
                <a:close/>
                <a:moveTo>
                  <a:pt x="68" y="60"/>
                </a:moveTo>
                <a:cubicBezTo>
                  <a:pt x="68" y="64"/>
                  <a:pt x="68" y="64"/>
                  <a:pt x="68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0" y="60"/>
                  <a:pt x="0" y="60"/>
                  <a:pt x="0" y="60"/>
                </a:cubicBezTo>
                <a:cubicBezTo>
                  <a:pt x="0" y="58"/>
                  <a:pt x="1" y="57"/>
                  <a:pt x="2" y="57"/>
                </a:cubicBezTo>
                <a:cubicBezTo>
                  <a:pt x="66" y="57"/>
                  <a:pt x="66" y="57"/>
                  <a:pt x="66" y="57"/>
                </a:cubicBezTo>
                <a:cubicBezTo>
                  <a:pt x="67" y="57"/>
                  <a:pt x="68" y="58"/>
                  <a:pt x="68" y="60"/>
                </a:cubicBezTo>
                <a:close/>
                <a:moveTo>
                  <a:pt x="18" y="23"/>
                </a:moveTo>
                <a:cubicBezTo>
                  <a:pt x="18" y="50"/>
                  <a:pt x="18" y="50"/>
                  <a:pt x="18" y="50"/>
                </a:cubicBezTo>
                <a:cubicBezTo>
                  <a:pt x="23" y="50"/>
                  <a:pt x="23" y="50"/>
                  <a:pt x="23" y="50"/>
                </a:cubicBezTo>
                <a:cubicBezTo>
                  <a:pt x="23" y="23"/>
                  <a:pt x="23" y="23"/>
                  <a:pt x="23" y="23"/>
                </a:cubicBezTo>
                <a:cubicBezTo>
                  <a:pt x="32" y="23"/>
                  <a:pt x="32" y="23"/>
                  <a:pt x="32" y="23"/>
                </a:cubicBezTo>
                <a:cubicBezTo>
                  <a:pt x="32" y="50"/>
                  <a:pt x="32" y="50"/>
                  <a:pt x="32" y="50"/>
                </a:cubicBezTo>
                <a:cubicBezTo>
                  <a:pt x="36" y="50"/>
                  <a:pt x="36" y="50"/>
                  <a:pt x="36" y="50"/>
                </a:cubicBezTo>
                <a:cubicBezTo>
                  <a:pt x="36" y="23"/>
                  <a:pt x="36" y="23"/>
                  <a:pt x="36" y="2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50"/>
                  <a:pt x="45" y="50"/>
                  <a:pt x="45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23"/>
                  <a:pt x="50" y="23"/>
                  <a:pt x="50" y="23"/>
                </a:cubicBezTo>
                <a:cubicBezTo>
                  <a:pt x="59" y="23"/>
                  <a:pt x="59" y="23"/>
                  <a:pt x="59" y="23"/>
                </a:cubicBezTo>
                <a:cubicBezTo>
                  <a:pt x="59" y="50"/>
                  <a:pt x="59" y="50"/>
                  <a:pt x="59" y="50"/>
                </a:cubicBezTo>
                <a:cubicBezTo>
                  <a:pt x="61" y="50"/>
                  <a:pt x="61" y="50"/>
                  <a:pt x="61" y="50"/>
                </a:cubicBezTo>
                <a:cubicBezTo>
                  <a:pt x="63" y="50"/>
                  <a:pt x="64" y="51"/>
                  <a:pt x="64" y="53"/>
                </a:cubicBezTo>
                <a:cubicBezTo>
                  <a:pt x="64" y="55"/>
                  <a:pt x="64" y="55"/>
                  <a:pt x="64" y="55"/>
                </a:cubicBezTo>
                <a:cubicBezTo>
                  <a:pt x="4" y="55"/>
                  <a:pt x="4" y="55"/>
                  <a:pt x="4" y="55"/>
                </a:cubicBezTo>
                <a:cubicBezTo>
                  <a:pt x="4" y="53"/>
                  <a:pt x="4" y="53"/>
                  <a:pt x="4" y="53"/>
                </a:cubicBezTo>
                <a:cubicBezTo>
                  <a:pt x="4" y="51"/>
                  <a:pt x="5" y="50"/>
                  <a:pt x="7" y="50"/>
                </a:cubicBezTo>
                <a:cubicBezTo>
                  <a:pt x="9" y="50"/>
                  <a:pt x="9" y="50"/>
                  <a:pt x="9" y="50"/>
                </a:cubicBezTo>
                <a:cubicBezTo>
                  <a:pt x="9" y="23"/>
                  <a:pt x="9" y="23"/>
                  <a:pt x="9" y="23"/>
                </a:cubicBezTo>
                <a:lnTo>
                  <a:pt x="18" y="2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solidFill>
                <a:srgbClr val="262626"/>
              </a:solidFill>
            </a:endParaRPr>
          </a:p>
        </p:txBody>
      </p:sp>
      <p:sp>
        <p:nvSpPr>
          <p:cNvPr id="17" name="Rectangle 130"/>
          <p:cNvSpPr>
            <a:spLocks noChangeArrowheads="1"/>
          </p:cNvSpPr>
          <p:nvPr/>
        </p:nvSpPr>
        <p:spPr bwMode="auto">
          <a:xfrm>
            <a:off x="2348268" y="1080953"/>
            <a:ext cx="103265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Данные о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студентах</a:t>
            </a:r>
            <a:endParaRPr kumimoji="0" lang="ru-RU" altLang="ru-RU" sz="18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Rectangle 130"/>
          <p:cNvSpPr>
            <a:spLocks noChangeArrowheads="1"/>
          </p:cNvSpPr>
          <p:nvPr/>
        </p:nvSpPr>
        <p:spPr bwMode="auto">
          <a:xfrm>
            <a:off x="2106856" y="2746608"/>
            <a:ext cx="151547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Риск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нерелевантных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данных</a:t>
            </a:r>
            <a:endParaRPr kumimoji="0" lang="ru-RU" altLang="ru-RU" sz="18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55519" y="4050574"/>
            <a:ext cx="291458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k-KZ" sz="1500" b="1" dirty="0" smtClean="0">
                <a:solidFill>
                  <a:schemeClr val="accent1">
                    <a:lumMod val="50000"/>
                  </a:schemeClr>
                </a:solidFill>
              </a:rPr>
              <a:t>Не велись расчеты </a:t>
            </a:r>
          </a:p>
          <a:p>
            <a:pPr algn="ctr"/>
            <a:r>
              <a:rPr lang="kk-KZ" sz="1500" b="1" dirty="0" smtClean="0">
                <a:solidFill>
                  <a:schemeClr val="accent1">
                    <a:lumMod val="50000"/>
                  </a:schemeClr>
                </a:solidFill>
              </a:rPr>
              <a:t>по магистрантам и иностранцам</a:t>
            </a:r>
          </a:p>
        </p:txBody>
      </p:sp>
      <p:pic>
        <p:nvPicPr>
          <p:cNvPr id="2050" name="Picture 2" descr="Картинки по запросу &quot;нобд кз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43296" y="2540348"/>
            <a:ext cx="1630104" cy="690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артинки по запросу &quot;есуво платонус&quot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50198" y="1355378"/>
            <a:ext cx="1505624" cy="39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Группа 33"/>
          <p:cNvGrpSpPr/>
          <p:nvPr/>
        </p:nvGrpSpPr>
        <p:grpSpPr>
          <a:xfrm>
            <a:off x="3698941" y="1822987"/>
            <a:ext cx="1608138" cy="718106"/>
            <a:chOff x="580388" y="1697258"/>
            <a:chExt cx="1608138" cy="718106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580388" y="1697258"/>
              <a:ext cx="1608138" cy="718106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654577" y="1809487"/>
              <a:ext cx="1459759" cy="49244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3200" b="1" dirty="0">
                  <a:solidFill>
                    <a:srgbClr val="FAA954"/>
                  </a:solidFill>
                  <a:latin typeface="Times New Roman" pitchFamily="18" charset="0"/>
                </a:rPr>
                <a:t>ЕСУВО</a:t>
              </a:r>
              <a:endParaRPr kumimoji="0" lang="ru-RU" altLang="ru-RU" sz="3600" b="1" i="0" u="none" strike="noStrike" cap="none" normalizeH="0" baseline="0" dirty="0" smtClean="0">
                <a:ln>
                  <a:noFill/>
                </a:ln>
                <a:solidFill>
                  <a:srgbClr val="FAA954"/>
                </a:solidFill>
                <a:effectLst/>
                <a:cs typeface="Arial" pitchFamily="34" charset="0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6882318" y="1830794"/>
            <a:ext cx="1608138" cy="718106"/>
            <a:chOff x="598118" y="2503985"/>
            <a:chExt cx="1608138" cy="718106"/>
          </a:xfrm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598118" y="2503985"/>
              <a:ext cx="1608138" cy="718106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Rectangle 32"/>
            <p:cNvSpPr>
              <a:spLocks noChangeArrowheads="1"/>
            </p:cNvSpPr>
            <p:nvPr/>
          </p:nvSpPr>
          <p:spPr bwMode="auto">
            <a:xfrm>
              <a:off x="923691" y="2624622"/>
              <a:ext cx="956993" cy="492443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altLang="ru-RU" sz="3200" b="1" i="0" u="none" strike="noStrike" cap="none" normalizeH="0" baseline="0" dirty="0" smtClean="0">
                  <a:ln>
                    <a:noFill/>
                  </a:ln>
                  <a:solidFill>
                    <a:srgbClr val="FAA954"/>
                  </a:solidFill>
                  <a:effectLst/>
                  <a:latin typeface="Times New Roman" pitchFamily="18" charset="0"/>
                  <a:cs typeface="Arial" pitchFamily="34" charset="0"/>
                </a:rPr>
                <a:t>НПП</a:t>
              </a:r>
              <a:endParaRPr kumimoji="0" lang="ru-RU" altLang="ru-RU" sz="3600" b="1" i="0" u="none" strike="noStrike" cap="none" normalizeH="0" baseline="0" dirty="0" smtClean="0">
                <a:ln>
                  <a:noFill/>
                </a:ln>
                <a:solidFill>
                  <a:srgbClr val="FAA954"/>
                </a:solidFill>
                <a:effectLst/>
                <a:cs typeface="Arial" pitchFamily="34" charset="0"/>
              </a:endParaRPr>
            </a:p>
          </p:txBody>
        </p:sp>
      </p:grpSp>
      <p:pic>
        <p:nvPicPr>
          <p:cNvPr id="44" name="Рисунок 43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6200000">
            <a:off x="2625887" y="1631085"/>
            <a:ext cx="586698" cy="1101910"/>
          </a:xfrm>
          <a:prstGeom prst="rect">
            <a:avLst/>
          </a:prstGeom>
        </p:spPr>
      </p:pic>
      <p:pic>
        <p:nvPicPr>
          <p:cNvPr id="2060" name="Picture 12" descr="Картинки по запросу &quot;беременность иконка&quot;"/>
          <p:cNvPicPr>
            <a:picLocks noChangeAspect="1" noChangeArrowheads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78327" y="4841548"/>
            <a:ext cx="1348848" cy="1348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Картинки по запросу &quot;военный иконка&quot;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8179"/>
          <a:stretch/>
        </p:blipFill>
        <p:spPr bwMode="auto">
          <a:xfrm>
            <a:off x="7366920" y="4841548"/>
            <a:ext cx="564109" cy="1348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/>
          <p:cNvGrpSpPr/>
          <p:nvPr/>
        </p:nvGrpSpPr>
        <p:grpSpPr>
          <a:xfrm>
            <a:off x="942932" y="4704854"/>
            <a:ext cx="1348848" cy="1485542"/>
            <a:chOff x="2955643" y="4704854"/>
            <a:chExt cx="1348848" cy="1485542"/>
          </a:xfrm>
        </p:grpSpPr>
        <p:pic>
          <p:nvPicPr>
            <p:cNvPr id="2068" name="Picture 20" descr="Картинки по запросу &quot;человек .png&quot;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5643" y="4841548"/>
              <a:ext cx="1348848" cy="134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0" name="Picture 22" descr="Картинки по запросу &quot;выпускник .png&quot;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4780" r="13735" b="39587"/>
            <a:stretch/>
          </p:blipFill>
          <p:spPr bwMode="auto">
            <a:xfrm>
              <a:off x="3391297" y="4704854"/>
              <a:ext cx="469704" cy="396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3" name="Picture 20" descr="Картинки по запросу &quot;человек .png&quot;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234"/>
          <a:stretch/>
        </p:blipFill>
        <p:spPr bwMode="auto">
          <a:xfrm>
            <a:off x="1811219" y="5074008"/>
            <a:ext cx="1348848" cy="111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74" name="Picture 26" descr="Картинки по запросу &quot;тюрбан иконка&quot;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35764" y="4681699"/>
            <a:ext cx="463378" cy="463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4212072" y="4012357"/>
            <a:ext cx="533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300" b="1" dirty="0" smtClean="0">
                <a:solidFill>
                  <a:schemeClr val="accent1">
                    <a:lumMod val="50000"/>
                  </a:schemeClr>
                </a:solidFill>
              </a:rPr>
              <a:t>Предусмотрено исключение из расчетов </a:t>
            </a:r>
            <a:r>
              <a:rPr lang="kk-KZ" sz="1400" b="1" dirty="0" smtClean="0">
                <a:solidFill>
                  <a:schemeClr val="accent1">
                    <a:lumMod val="50000"/>
                  </a:schemeClr>
                </a:solidFill>
              </a:rPr>
              <a:t>магистрантов; иностранцев;</a:t>
            </a:r>
            <a:endParaRPr lang="kk-KZ" sz="14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kk-KZ" sz="1300" b="1" dirty="0" smtClean="0">
                <a:solidFill>
                  <a:schemeClr val="accent1">
                    <a:lumMod val="50000"/>
                  </a:schemeClr>
                </a:solidFill>
              </a:rPr>
              <a:t>декретниц; военнослужащих</a:t>
            </a:r>
            <a:r>
              <a:rPr lang="ru-RU" sz="1300" b="1" dirty="0" smtClean="0">
                <a:solidFill>
                  <a:schemeClr val="accent1">
                    <a:lumMod val="50000"/>
                  </a:schemeClr>
                </a:solidFill>
              </a:rPr>
              <a:t>; выпускников, продолживших обучение за рубежом; выпускников нетипичного возраста</a:t>
            </a:r>
            <a:endParaRPr lang="kk-KZ" sz="1300" b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3885569" y="4704854"/>
            <a:ext cx="1348848" cy="1485542"/>
            <a:chOff x="2955643" y="4704854"/>
            <a:chExt cx="1348848" cy="1485542"/>
          </a:xfrm>
        </p:grpSpPr>
        <p:pic>
          <p:nvPicPr>
            <p:cNvPr id="59" name="Picture 20" descr="Картинки по запросу &quot;человек .png&quot;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5643" y="4841548"/>
              <a:ext cx="1348848" cy="134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2" descr="Картинки по запросу &quot;выпускник .png&quot;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4780" r="13735" b="39587"/>
            <a:stretch/>
          </p:blipFill>
          <p:spPr bwMode="auto">
            <a:xfrm>
              <a:off x="3391297" y="4704854"/>
              <a:ext cx="469704" cy="396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1" name="Picture 20" descr="Картинки по запросу &quot;человек .png&quot;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234"/>
          <a:stretch/>
        </p:blipFill>
        <p:spPr bwMode="auto">
          <a:xfrm>
            <a:off x="4753856" y="5074008"/>
            <a:ext cx="1348848" cy="111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6" descr="Картинки по запросу &quot;тюрбан иконка&quot;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78401" y="4681699"/>
            <a:ext cx="463378" cy="463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люс 30"/>
          <p:cNvSpPr/>
          <p:nvPr/>
        </p:nvSpPr>
        <p:spPr>
          <a:xfrm>
            <a:off x="5879580" y="5272410"/>
            <a:ext cx="487124" cy="487124"/>
          </a:xfrm>
          <a:prstGeom prst="mathPlus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AA954"/>
              </a:solidFill>
            </a:endParaRPr>
          </a:p>
        </p:txBody>
      </p:sp>
      <p:pic>
        <p:nvPicPr>
          <p:cNvPr id="69" name="Picture 28" descr="Главная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50660" y="1376020"/>
            <a:ext cx="1619794" cy="37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1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573037" y="2670098"/>
            <a:ext cx="586698" cy="550955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062315" y="3585160"/>
            <a:ext cx="1608139" cy="1608139"/>
          </a:xfrm>
          <a:prstGeom prst="rect">
            <a:avLst/>
          </a:prstGeom>
        </p:spPr>
      </p:pic>
      <p:sp>
        <p:nvSpPr>
          <p:cNvPr id="81" name="Rectangle 130"/>
          <p:cNvSpPr>
            <a:spLocks noChangeArrowheads="1"/>
          </p:cNvSpPr>
          <p:nvPr/>
        </p:nvSpPr>
        <p:spPr bwMode="auto">
          <a:xfrm>
            <a:off x="10058453" y="3338939"/>
            <a:ext cx="16635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u="none" strike="noStrike" cap="none" normalizeH="0" baseline="0" dirty="0" smtClean="0">
                <a:ln>
                  <a:noFill/>
                </a:ln>
                <a:solidFill>
                  <a:srgbClr val="1E4E79"/>
                </a:solidFill>
                <a:latin typeface="+mn-lt"/>
                <a:cs typeface="Arial" pitchFamily="34" charset="0"/>
              </a:rPr>
              <a:t>ГОТОВЫЕ ДАННЫЕ</a:t>
            </a:r>
            <a:endParaRPr kumimoji="0" lang="ru-RU" altLang="ru-RU" sz="1600" b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049" name="Скругленный прямоугольник 2048"/>
          <p:cNvSpPr/>
          <p:nvPr/>
        </p:nvSpPr>
        <p:spPr>
          <a:xfrm>
            <a:off x="356247" y="3924300"/>
            <a:ext cx="3287050" cy="2463800"/>
          </a:xfrm>
          <a:prstGeom prst="round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4031414" y="3911600"/>
            <a:ext cx="5725618" cy="2463800"/>
          </a:xfrm>
          <a:prstGeom prst="round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53" name="Прямоугольник 2052"/>
          <p:cNvSpPr/>
          <p:nvPr/>
        </p:nvSpPr>
        <p:spPr>
          <a:xfrm>
            <a:off x="783705" y="3570739"/>
            <a:ext cx="1183696" cy="47983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200" b="1" dirty="0" smtClean="0">
                <a:solidFill>
                  <a:srgbClr val="FAA954"/>
                </a:solidFill>
              </a:rPr>
              <a:t>Рейтинг-2019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4455138" y="3533295"/>
            <a:ext cx="1183696" cy="47983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200" b="1" dirty="0" smtClean="0">
                <a:solidFill>
                  <a:srgbClr val="FAA954"/>
                </a:solidFill>
              </a:rPr>
              <a:t>Рейтинг-2020</a:t>
            </a:r>
            <a:endParaRPr lang="ru-RU" sz="1200" b="1" dirty="0">
              <a:solidFill>
                <a:srgbClr val="FAA954"/>
              </a:solidFill>
            </a:endParaRPr>
          </a:p>
        </p:txBody>
      </p:sp>
      <p:pic>
        <p:nvPicPr>
          <p:cNvPr id="50" name="Picture 20" descr="Картинки по запросу &quot;человек .png&quot;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655"/>
          <a:stretch/>
        </p:blipFill>
        <p:spPr bwMode="auto">
          <a:xfrm>
            <a:off x="7791181" y="5143500"/>
            <a:ext cx="1271357" cy="104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2" descr="Картинки по запросу &quot;выпускник .png&quot;"/>
          <p:cNvPicPr>
            <a:picLocks noChangeAspect="1" noChangeArrowheads="1"/>
          </p:cNvPicPr>
          <p:nvPr/>
        </p:nvPicPr>
        <p:blipFill rotWithShape="1"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780" r="13735" b="39587"/>
          <a:stretch/>
        </p:blipFill>
        <p:spPr bwMode="auto">
          <a:xfrm>
            <a:off x="8209778" y="4803352"/>
            <a:ext cx="434161" cy="366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Овал 3"/>
          <p:cNvSpPr/>
          <p:nvPr/>
        </p:nvSpPr>
        <p:spPr>
          <a:xfrm>
            <a:off x="8317838" y="5287536"/>
            <a:ext cx="211681" cy="21385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2" descr="Картинки по запросу &quot;иконка планета .png&quot;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39534" y="5310319"/>
            <a:ext cx="168287" cy="168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0" descr="Картинки по запросу &quot;человек .png&quot;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655"/>
          <a:stretch/>
        </p:blipFill>
        <p:spPr bwMode="auto">
          <a:xfrm>
            <a:off x="8560437" y="5139211"/>
            <a:ext cx="1271357" cy="1046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2" descr="Картинки по запросу &quot;выпускник .png&quot;"/>
          <p:cNvPicPr>
            <a:picLocks noChangeAspect="1" noChangeArrowheads="1"/>
          </p:cNvPicPr>
          <p:nvPr/>
        </p:nvPicPr>
        <p:blipFill rotWithShape="1"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780" r="13735" b="39587"/>
          <a:stretch/>
        </p:blipFill>
        <p:spPr bwMode="auto">
          <a:xfrm>
            <a:off x="8979034" y="4799063"/>
            <a:ext cx="434161" cy="366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 descr="Картинки по запросу &quot;купюры .png&quot;"/>
          <p:cNvPicPr>
            <a:picLocks noChangeAspect="1" noChangeArrowheads="1"/>
          </p:cNvPicPr>
          <p:nvPr/>
        </p:nvPicPr>
        <p:blipFill rotWithShape="1">
          <a:blip r:embed="rId1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535" t="-4395" b="12413"/>
          <a:stretch/>
        </p:blipFill>
        <p:spPr bwMode="auto">
          <a:xfrm rot="8334219">
            <a:off x="8918194" y="5585447"/>
            <a:ext cx="175274" cy="180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Картинки по запросу &quot;cnfhbr .png&quot;"/>
          <p:cNvPicPr>
            <a:picLocks noChangeAspect="1" noChangeArrowheads="1"/>
          </p:cNvPicPr>
          <p:nvPr/>
        </p:nvPicPr>
        <p:blipFill>
          <a:blip r:embed="rId16" cstate="print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17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066177" y="5036213"/>
            <a:ext cx="244636" cy="244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4624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КРИТЕРИИ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БЛОКА «КАРЬЕРНЫЕ ПЕРСПЕКТИВЫ ВЫПУСКНИКОВ»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420530" y="878224"/>
            <a:ext cx="83027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</a:rPr>
              <a:t>Примечание: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в связи с режимом ЧП, введенным в РК в марте 2020 г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., для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более достоверных  расчетов </a:t>
            </a:r>
          </a:p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по блоку «Карьерные перспективы» выпускников выбран период с сентября 2019 г. по февраль 2020 г.</a:t>
            </a:r>
            <a:endParaRPr lang="ru-RU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20530" y="901315"/>
            <a:ext cx="8199775" cy="4770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939800" y="2118310"/>
            <a:ext cx="10998200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1) выпускники</a:t>
            </a:r>
            <a:r>
              <a:rPr lang="ru-RU" sz="1600" dirty="0"/>
              <a:t>, продолжившие обучение в магистратуре </a:t>
            </a:r>
            <a:r>
              <a:rPr lang="ru-RU" sz="1600" dirty="0" smtClean="0"/>
              <a:t>будут </a:t>
            </a:r>
            <a:r>
              <a:rPr lang="ru-RU" sz="1600" dirty="0"/>
              <a:t>выявляться </a:t>
            </a:r>
            <a:r>
              <a:rPr lang="ru-RU" sz="1600" dirty="0" smtClean="0"/>
              <a:t>в </a:t>
            </a:r>
            <a:r>
              <a:rPr lang="ru-RU" sz="1600" dirty="0"/>
              <a:t>ЕСУВО </a:t>
            </a:r>
            <a:r>
              <a:rPr lang="ru-RU" sz="1600" dirty="0" smtClean="0"/>
              <a:t>автоматически. </a:t>
            </a:r>
            <a:r>
              <a:rPr lang="ru-RU" sz="1600" b="1" dirty="0"/>
              <a:t>Подтверждение от </a:t>
            </a:r>
            <a:r>
              <a:rPr lang="ru-RU" sz="1600" b="1" dirty="0" smtClean="0"/>
              <a:t>вуза </a:t>
            </a:r>
            <a:r>
              <a:rPr lang="ru-RU" sz="1600" dirty="0" smtClean="0"/>
              <a:t>– вуз </a:t>
            </a:r>
            <a:r>
              <a:rPr lang="ru-RU" sz="1600" dirty="0"/>
              <a:t>обязан актуализировать все данные по магистрантам обучающихся на данный момент в esuvo.platonus.kz</a:t>
            </a:r>
            <a:r>
              <a:rPr lang="ru-RU" sz="1600" dirty="0" smtClean="0"/>
              <a:t>.</a:t>
            </a:r>
            <a:endParaRPr lang="ru-RU" sz="1600" dirty="0"/>
          </a:p>
          <a:p>
            <a:endParaRPr lang="ru-RU" sz="1600" dirty="0" smtClean="0"/>
          </a:p>
          <a:p>
            <a:r>
              <a:rPr lang="ru-RU" sz="1600" dirty="0" smtClean="0"/>
              <a:t>2) выпускники-иностранцы. </a:t>
            </a:r>
            <a:r>
              <a:rPr lang="ru-RU" sz="1600" b="1" dirty="0" smtClean="0"/>
              <a:t>Подтверждение от вуза </a:t>
            </a:r>
            <a:r>
              <a:rPr lang="ru-RU" sz="1600" dirty="0" smtClean="0"/>
              <a:t>– прикрепление скан</a:t>
            </a:r>
            <a:r>
              <a:rPr lang="ru-RU" sz="1600" dirty="0"/>
              <a:t>. </a:t>
            </a:r>
            <a:r>
              <a:rPr lang="ru-RU" sz="1600" dirty="0" smtClean="0"/>
              <a:t>варианта </a:t>
            </a:r>
            <a:r>
              <a:rPr lang="ru-RU" sz="1600" dirty="0"/>
              <a:t>договора и </a:t>
            </a:r>
            <a:r>
              <a:rPr lang="ru-RU" sz="1600" dirty="0" smtClean="0"/>
              <a:t>удостоверения личности </a:t>
            </a:r>
            <a:r>
              <a:rPr lang="ru-RU" sz="1600" dirty="0"/>
              <a:t>(</a:t>
            </a:r>
            <a:r>
              <a:rPr lang="ru-RU" sz="1600" dirty="0" smtClean="0"/>
              <a:t>паспорта) </a:t>
            </a:r>
            <a:r>
              <a:rPr lang="ru-RU" sz="1600" dirty="0"/>
              <a:t>в </a:t>
            </a:r>
            <a:r>
              <a:rPr lang="ru-RU" sz="1600" dirty="0" smtClean="0"/>
              <a:t>ЕСУВО (</a:t>
            </a:r>
            <a:r>
              <a:rPr lang="ru-RU" sz="1600" dirty="0"/>
              <a:t>esuvo.platonus.kz</a:t>
            </a:r>
            <a:r>
              <a:rPr lang="ru-RU" sz="1600" dirty="0" smtClean="0"/>
              <a:t>);</a:t>
            </a:r>
            <a:endParaRPr lang="ru-RU" sz="1600" dirty="0"/>
          </a:p>
          <a:p>
            <a:endParaRPr lang="ru-RU" sz="1600" dirty="0" smtClean="0"/>
          </a:p>
          <a:p>
            <a:r>
              <a:rPr lang="ru-RU" sz="1600" dirty="0" smtClean="0"/>
              <a:t>3) выпускники</a:t>
            </a:r>
            <a:r>
              <a:rPr lang="ru-RU" sz="1600" dirty="0"/>
              <a:t>, вышедшие в</a:t>
            </a:r>
            <a:r>
              <a:rPr lang="ru-RU" sz="1600" dirty="0" smtClean="0"/>
              <a:t> </a:t>
            </a:r>
            <a:r>
              <a:rPr lang="ru-RU" sz="1600" dirty="0"/>
              <a:t>декретный </a:t>
            </a:r>
            <a:r>
              <a:rPr lang="ru-RU" sz="1600" dirty="0" smtClean="0"/>
              <a:t>отпуск. </a:t>
            </a:r>
            <a:r>
              <a:rPr lang="ru-RU" sz="1600" b="1" dirty="0" smtClean="0"/>
              <a:t>Подтверждение от вуза </a:t>
            </a:r>
            <a:r>
              <a:rPr lang="ru-RU" sz="1600" dirty="0" smtClean="0"/>
              <a:t>– прикрепление </a:t>
            </a:r>
            <a:r>
              <a:rPr lang="ru-RU" sz="1600" dirty="0"/>
              <a:t>скан. варианта </a:t>
            </a:r>
            <a:r>
              <a:rPr lang="ru-RU" sz="1600" dirty="0" err="1" smtClean="0"/>
              <a:t>свид-ва</a:t>
            </a:r>
            <a:r>
              <a:rPr lang="ru-RU" sz="1600" dirty="0" smtClean="0"/>
              <a:t> </a:t>
            </a:r>
            <a:r>
              <a:rPr lang="ru-RU" sz="1600" dirty="0"/>
              <a:t>о рождении </a:t>
            </a:r>
            <a:r>
              <a:rPr lang="ru-RU" sz="1600" dirty="0" smtClean="0"/>
              <a:t>(с 01.04.2017 </a:t>
            </a:r>
            <a:r>
              <a:rPr lang="ru-RU" sz="1600" dirty="0"/>
              <a:t>г. по 30.04.2020 г</a:t>
            </a:r>
            <a:r>
              <a:rPr lang="ru-RU" sz="1600" dirty="0" smtClean="0"/>
              <a:t>.) </a:t>
            </a:r>
            <a:r>
              <a:rPr lang="ru-RU" sz="1600" dirty="0"/>
              <a:t>либо </a:t>
            </a:r>
            <a:r>
              <a:rPr lang="ru-RU" sz="1600" dirty="0" smtClean="0"/>
              <a:t>больничного листа (с </a:t>
            </a:r>
            <a:r>
              <a:rPr lang="ru-RU" sz="1600" dirty="0"/>
              <a:t>01.02.2020 г. по 30.04.2020 г</a:t>
            </a:r>
            <a:r>
              <a:rPr lang="ru-RU" sz="1600" dirty="0" smtClean="0"/>
              <a:t>.) в ЕСУВО (</a:t>
            </a:r>
            <a:r>
              <a:rPr lang="ru-RU" sz="1600" dirty="0"/>
              <a:t>esuvo.platonus.kz);</a:t>
            </a:r>
          </a:p>
          <a:p>
            <a:endParaRPr lang="ru-RU" sz="1600" dirty="0" smtClean="0"/>
          </a:p>
          <a:p>
            <a:r>
              <a:rPr lang="ru-RU" sz="1600" dirty="0" smtClean="0"/>
              <a:t>4) выпускники</a:t>
            </a:r>
            <a:r>
              <a:rPr lang="ru-RU" sz="1600" dirty="0"/>
              <a:t>, призванные на срочную воинскую </a:t>
            </a:r>
            <a:r>
              <a:rPr lang="ru-RU" sz="1600" dirty="0" smtClean="0"/>
              <a:t>службу. </a:t>
            </a:r>
            <a:r>
              <a:rPr lang="ru-RU" sz="1600" b="1" dirty="0"/>
              <a:t>Подтверждение от вуза </a:t>
            </a:r>
            <a:r>
              <a:rPr lang="ru-RU" sz="1600" dirty="0"/>
              <a:t>–</a:t>
            </a:r>
            <a:r>
              <a:rPr lang="ru-RU" sz="1600" dirty="0" smtClean="0"/>
              <a:t> прикрепление скан</a:t>
            </a:r>
            <a:r>
              <a:rPr lang="ru-RU" sz="1600" dirty="0"/>
              <a:t>. </a:t>
            </a:r>
            <a:r>
              <a:rPr lang="ru-RU" sz="1600" dirty="0" smtClean="0"/>
              <a:t>варианта </a:t>
            </a:r>
            <a:r>
              <a:rPr lang="ru-RU" sz="1600" dirty="0"/>
              <a:t>справки с Департамента по делам обороны (</a:t>
            </a:r>
            <a:r>
              <a:rPr lang="ru-RU" sz="1600" dirty="0" smtClean="0"/>
              <a:t>военкомата) </a:t>
            </a:r>
            <a:r>
              <a:rPr lang="ru-RU" sz="1600" dirty="0"/>
              <a:t>в </a:t>
            </a:r>
            <a:r>
              <a:rPr lang="ru-RU" sz="1600" dirty="0" smtClean="0"/>
              <a:t>ЕСУВО (</a:t>
            </a:r>
            <a:r>
              <a:rPr lang="ru-RU" sz="1600" dirty="0"/>
              <a:t>esuvo.platonus.kz);</a:t>
            </a:r>
          </a:p>
          <a:p>
            <a:endParaRPr lang="ru-RU" sz="1600" dirty="0" smtClean="0"/>
          </a:p>
          <a:p>
            <a:r>
              <a:rPr lang="ru-RU" sz="1600" dirty="0" smtClean="0"/>
              <a:t>5) выпускники, получающие </a:t>
            </a:r>
            <a:r>
              <a:rPr lang="ru-RU" sz="1600" dirty="0"/>
              <a:t>образование за </a:t>
            </a:r>
            <a:r>
              <a:rPr lang="ru-RU" sz="1600" dirty="0" smtClean="0"/>
              <a:t>рубежом. </a:t>
            </a:r>
            <a:r>
              <a:rPr lang="ru-RU" sz="1600" b="1" dirty="0"/>
              <a:t>Подтверждение от вуза </a:t>
            </a:r>
            <a:r>
              <a:rPr lang="ru-RU" sz="1600" dirty="0"/>
              <a:t>– прикрепление </a:t>
            </a:r>
            <a:r>
              <a:rPr lang="ru-RU" sz="1600" dirty="0" smtClean="0"/>
              <a:t>2 документов: скан</a:t>
            </a:r>
            <a:r>
              <a:rPr lang="ru-RU" sz="1600" dirty="0"/>
              <a:t>. варианта </a:t>
            </a:r>
            <a:r>
              <a:rPr lang="ru-RU" sz="1600" dirty="0" smtClean="0"/>
              <a:t>визы </a:t>
            </a:r>
            <a:r>
              <a:rPr lang="ru-RU" sz="1600" dirty="0"/>
              <a:t>и </a:t>
            </a:r>
            <a:r>
              <a:rPr lang="ru-RU" sz="1600" dirty="0" smtClean="0"/>
              <a:t>справки </a:t>
            </a:r>
            <a:r>
              <a:rPr lang="ru-RU" sz="1600" dirty="0"/>
              <a:t>с места учебы в </a:t>
            </a:r>
            <a:r>
              <a:rPr lang="ru-RU" sz="1600" dirty="0" smtClean="0"/>
              <a:t>ЕСУВО (</a:t>
            </a:r>
            <a:r>
              <a:rPr lang="ru-RU" sz="1600" dirty="0"/>
              <a:t>esuvo.platonus.kz);</a:t>
            </a:r>
          </a:p>
          <a:p>
            <a:endParaRPr lang="ru-RU" sz="1600" dirty="0" smtClean="0"/>
          </a:p>
          <a:p>
            <a:r>
              <a:rPr lang="ru-RU" sz="1600" dirty="0" smtClean="0"/>
              <a:t>6) выпускники </a:t>
            </a:r>
            <a:r>
              <a:rPr lang="ru-RU" sz="1600" dirty="0"/>
              <a:t>нетипичного возраста (старше 1990 г.р</a:t>
            </a:r>
            <a:r>
              <a:rPr lang="ru-RU" sz="1600" dirty="0" smtClean="0"/>
              <a:t>.), </a:t>
            </a:r>
            <a:r>
              <a:rPr lang="ru-RU" sz="1600" dirty="0"/>
              <a:t>получавшие постоянные пенсионные отчисления с 1 курса </a:t>
            </a:r>
            <a:r>
              <a:rPr lang="ru-RU" sz="1600" dirty="0" smtClean="0"/>
              <a:t>обучения, </a:t>
            </a:r>
            <a:r>
              <a:rPr lang="ru-RU" sz="1600" dirty="0"/>
              <a:t>будут выявляться автоматически </a:t>
            </a:r>
            <a:r>
              <a:rPr lang="ru-RU" sz="1600" dirty="0" smtClean="0"/>
              <a:t>по данным </a:t>
            </a:r>
            <a:r>
              <a:rPr lang="ru-RU" sz="1600" dirty="0"/>
              <a:t>ЦРТ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20530" y="1519535"/>
            <a:ext cx="114666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 рейтинге по блоку «Карьерные перспективы выпускников» не будут ранжироваться следующие выпускники:</a:t>
            </a:r>
          </a:p>
        </p:txBody>
      </p:sp>
      <p:pic>
        <p:nvPicPr>
          <p:cNvPr id="2052" name="Picture 4" descr="Актуализировать стрелки пару в кругу | Бесплатно значок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0530" y="2208212"/>
            <a:ext cx="390525" cy="39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паспорт значок - ico,png,icns,Бесплатные иконки скачать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4329" y="2876549"/>
            <a:ext cx="5429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Мать с ребенком на руках | Бесплатно значок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112" r="11744"/>
          <a:stretch/>
        </p:blipFill>
        <p:spPr bwMode="auto">
          <a:xfrm>
            <a:off x="420528" y="3622985"/>
            <a:ext cx="390525" cy="499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Soldier | Free Icon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3129" y="4370725"/>
            <a:ext cx="445326" cy="445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TRAVEL: Travel Icon 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522" y="5082724"/>
            <a:ext cx="493873" cy="51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Человек с лысой головой и волосатым барда | Бесплатно значок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322" y="5811002"/>
            <a:ext cx="500935" cy="500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6678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1. УРОВЕНЬ ТРУДОУСТРОЙСТВА (вес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– 35%)</a:t>
            </a:r>
            <a:r>
              <a:rPr lang="ru-RU" dirty="0"/>
              <a:t> </a:t>
            </a:r>
          </a:p>
        </p:txBody>
      </p:sp>
      <p:pic>
        <p:nvPicPr>
          <p:cNvPr id="4100" name="Picture 4" descr="Image result for работа значок 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4631" y="888524"/>
            <a:ext cx="486756" cy="48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397686" y="947236"/>
            <a:ext cx="104013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Уровень трудоустройств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– показатель,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демонстрирующий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роцент трудоустроенных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выпускников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3422822" y="1549401"/>
            <a:ext cx="5362832" cy="629492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rgbClr val="FAA954"/>
                </a:solidFill>
              </a:rPr>
              <a:t>УРОВЕНЬ ТРУДОУСТРОЙСТВА</a:t>
            </a:r>
            <a:endParaRPr lang="ru-RU" sz="2800" b="1" dirty="0">
              <a:solidFill>
                <a:srgbClr val="FAA954"/>
              </a:solidFill>
            </a:endParaRPr>
          </a:p>
        </p:txBody>
      </p:sp>
      <p:cxnSp>
        <p:nvCxnSpPr>
          <p:cNvPr id="32" name="Прямая со стрелкой 31"/>
          <p:cNvCxnSpPr/>
          <p:nvPr/>
        </p:nvCxnSpPr>
        <p:spPr>
          <a:xfrm>
            <a:off x="7122047" y="2107641"/>
            <a:ext cx="818866" cy="632460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H="1">
            <a:off x="4247392" y="2107642"/>
            <a:ext cx="818866" cy="632459"/>
          </a:xfrm>
          <a:prstGeom prst="straightConnector1">
            <a:avLst/>
          </a:prstGeom>
          <a:ln w="28575"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33"/>
          <p:cNvSpPr/>
          <p:nvPr/>
        </p:nvSpPr>
        <p:spPr>
          <a:xfrm>
            <a:off x="1105464" y="2754800"/>
            <a:ext cx="4152336" cy="712299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AA954"/>
                </a:solidFill>
              </a:rPr>
              <a:t>СТАБИЛЬНОЕ ТРУДОУСТРОЙСТВО </a:t>
            </a:r>
          </a:p>
          <a:p>
            <a:pPr algn="ctr"/>
            <a:r>
              <a:rPr lang="ru-RU" b="1" dirty="0" smtClean="0">
                <a:solidFill>
                  <a:srgbClr val="FAA954"/>
                </a:solidFill>
              </a:rPr>
              <a:t>(</a:t>
            </a:r>
            <a:r>
              <a:rPr lang="ru-RU" b="1" dirty="0">
                <a:solidFill>
                  <a:srgbClr val="FAA954"/>
                </a:solidFill>
              </a:rPr>
              <a:t>коэффициент </a:t>
            </a:r>
            <a:r>
              <a:rPr lang="ru-RU" b="1" dirty="0" smtClean="0">
                <a:solidFill>
                  <a:srgbClr val="FAA954"/>
                </a:solidFill>
              </a:rPr>
              <a:t>– 5)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884257" y="2754801"/>
            <a:ext cx="4165074" cy="71229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AA954"/>
                </a:solidFill>
              </a:rPr>
              <a:t>УСЛОВНАЯ ЗАНЯТОСТЬ</a:t>
            </a:r>
          </a:p>
          <a:p>
            <a:pPr algn="ctr"/>
            <a:r>
              <a:rPr lang="ru-RU" b="1" dirty="0" smtClean="0">
                <a:solidFill>
                  <a:srgbClr val="FAA954"/>
                </a:solidFill>
              </a:rPr>
              <a:t>(коэффициент </a:t>
            </a:r>
            <a:r>
              <a:rPr lang="ru-RU" b="1" dirty="0">
                <a:solidFill>
                  <a:srgbClr val="FAA954"/>
                </a:solidFill>
              </a:rPr>
              <a:t>– </a:t>
            </a:r>
            <a:r>
              <a:rPr lang="ru-RU" b="1" dirty="0" smtClean="0">
                <a:solidFill>
                  <a:srgbClr val="FAA954"/>
                </a:solidFill>
              </a:rPr>
              <a:t>2)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095379" y="3592850"/>
            <a:ext cx="4162421" cy="2198350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</a:rPr>
              <a:t>показатель</a:t>
            </a:r>
            <a:r>
              <a:rPr lang="ru-RU" sz="19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</a:rPr>
              <a:t>демонстрирующий процент трудоустроенных  </a:t>
            </a:r>
            <a:r>
              <a:rPr lang="ru-RU" sz="1900" b="1" dirty="0">
                <a:solidFill>
                  <a:schemeClr val="accent1">
                    <a:lumMod val="50000"/>
                  </a:schemeClr>
                </a:solidFill>
              </a:rPr>
              <a:t>выпускников, получавших регулярные пенсионные отчисления минимум 3 месяца подряд в период с </a:t>
            </a:r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</a:rPr>
              <a:t>сентября 2019 </a:t>
            </a:r>
            <a:r>
              <a:rPr lang="ru-RU" sz="1900" b="1" dirty="0">
                <a:solidFill>
                  <a:schemeClr val="accent1">
                    <a:lumMod val="50000"/>
                  </a:schemeClr>
                </a:solidFill>
              </a:rPr>
              <a:t>г. по </a:t>
            </a:r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</a:rPr>
              <a:t>февраль </a:t>
            </a:r>
            <a:r>
              <a:rPr lang="ru-RU" sz="1900" b="1" dirty="0">
                <a:solidFill>
                  <a:schemeClr val="accent1">
                    <a:lumMod val="50000"/>
                  </a:schemeClr>
                </a:solidFill>
              </a:rPr>
              <a:t>2020 г.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884257" y="3592849"/>
            <a:ext cx="4165074" cy="2198351"/>
          </a:xfrm>
          <a:prstGeom prst="roundRect">
            <a:avLst/>
          </a:prstGeom>
          <a:noFill/>
          <a:ln w="285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</a:rPr>
              <a:t>показатель</a:t>
            </a:r>
            <a:r>
              <a:rPr lang="ru-RU" sz="19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</a:rPr>
              <a:t>демонстрирующий нецелостное трудоустройство. В расчет берутся все варианты трудоустройства кроме используемого по критерию «Стабильное трудоустройство»</a:t>
            </a:r>
            <a:endParaRPr lang="ru-RU" sz="19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107736" y="2359015"/>
            <a:ext cx="15359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одкритерий 1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349727" y="2385469"/>
            <a:ext cx="15359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одкритерий 2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35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9" name="Прямая соединительная линия 118"/>
          <p:cNvCxnSpPr/>
          <p:nvPr/>
        </p:nvCxnSpPr>
        <p:spPr>
          <a:xfrm>
            <a:off x="6188623" y="2531394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УРОВЕНЬ ТРУДОУСТРОЙСТВА: СТАБИЛЬНОЕ ТРУДОУСТРОЙСТВО</a:t>
            </a:r>
            <a:endParaRPr lang="ru-RU" dirty="0"/>
          </a:p>
        </p:txBody>
      </p:sp>
      <p:pic>
        <p:nvPicPr>
          <p:cNvPr id="3" name="Picture 4" descr="Image result for работа значок 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8049" y="817440"/>
            <a:ext cx="700768" cy="70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417331" y="875436"/>
            <a:ext cx="10401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табильное трудоустройство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– показатель, демонстрирующий процент трудоустроенных  выпускников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, получавших регулярные пенсионные отчисления минимум 3 месяца подряд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за период с сентября 2019 г. по февраль 2020 г.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>
            <a:off x="2592867" y="1668440"/>
            <a:ext cx="0" cy="463076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217074" y="1993238"/>
            <a:ext cx="1992725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Рейтинг-2020</a:t>
            </a:r>
          </a:p>
          <a:p>
            <a:pPr algn="ctr"/>
            <a:r>
              <a:rPr lang="en-US" sz="2800" b="1" dirty="0" smtClean="0">
                <a:solidFill>
                  <a:srgbClr val="FAA95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r>
              <a:rPr lang="ru-RU" sz="2800" b="1" dirty="0" smtClean="0">
                <a:solidFill>
                  <a:srgbClr val="FAA95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r>
              <a:rPr lang="en-US" sz="2800" b="1" dirty="0" smtClean="0">
                <a:solidFill>
                  <a:srgbClr val="FAA95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%</a:t>
            </a:r>
          </a:p>
          <a:p>
            <a:pPr algn="ctr"/>
            <a:r>
              <a:rPr lang="en-US" sz="1400" b="1" dirty="0" smtClean="0">
                <a:solidFill>
                  <a:srgbClr val="FAA954"/>
                </a:solidFill>
              </a:rPr>
              <a:t>(</a:t>
            </a:r>
            <a:r>
              <a:rPr lang="ru-RU" sz="1400" b="1" dirty="0" smtClean="0">
                <a:solidFill>
                  <a:srgbClr val="FAA954"/>
                </a:solidFill>
              </a:rPr>
              <a:t>расчет проводился по </a:t>
            </a:r>
          </a:p>
          <a:p>
            <a:pPr algn="ctr"/>
            <a:r>
              <a:rPr lang="ru-RU" sz="1400" b="1" dirty="0" smtClean="0">
                <a:solidFill>
                  <a:srgbClr val="FAA954"/>
                </a:solidFill>
              </a:rPr>
              <a:t>выпускникам 2018 г.)</a:t>
            </a:r>
            <a:endParaRPr lang="ru-RU" sz="2400" b="1" dirty="0">
              <a:solidFill>
                <a:srgbClr val="FAA954"/>
              </a:solidFill>
            </a:endParaRPr>
          </a:p>
        </p:txBody>
      </p:sp>
      <p:grpSp>
        <p:nvGrpSpPr>
          <p:cNvPr id="105" name="Группа 104"/>
          <p:cNvGrpSpPr/>
          <p:nvPr/>
        </p:nvGrpSpPr>
        <p:grpSpPr>
          <a:xfrm>
            <a:off x="6188623" y="2531394"/>
            <a:ext cx="3410054" cy="495300"/>
            <a:chOff x="4870346" y="3149600"/>
            <a:chExt cx="3410054" cy="495300"/>
          </a:xfrm>
        </p:grpSpPr>
        <p:cxnSp>
          <p:nvCxnSpPr>
            <p:cNvPr id="106" name="Прямая соединительная линия 105"/>
            <p:cNvCxnSpPr/>
            <p:nvPr/>
          </p:nvCxnSpPr>
          <p:spPr>
            <a:xfrm>
              <a:off x="4870346" y="3390900"/>
              <a:ext cx="3410054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Прямая соединительная линия 106"/>
            <p:cNvCxnSpPr/>
            <p:nvPr/>
          </p:nvCxnSpPr>
          <p:spPr>
            <a:xfrm>
              <a:off x="8267700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4" name="Прямая соединительная линия 113"/>
          <p:cNvCxnSpPr/>
          <p:nvPr/>
        </p:nvCxnSpPr>
        <p:spPr>
          <a:xfrm>
            <a:off x="67919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73761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79730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85572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90906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Box 125"/>
          <p:cNvSpPr txBox="1"/>
          <p:nvPr/>
        </p:nvSpPr>
        <p:spPr>
          <a:xfrm>
            <a:off x="6356941" y="284202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6937966" y="284202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7534866" y="284202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8114466" y="284306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8682395" y="284306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9190219" y="282984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8115495" y="236953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8696124" y="236953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9192277" y="2356317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3449746" y="2625851"/>
            <a:ext cx="254826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200" b="1" dirty="0" smtClean="0">
                <a:solidFill>
                  <a:srgbClr val="FAA954"/>
                </a:solidFill>
              </a:rPr>
              <a:t>(сентябрь 2019 </a:t>
            </a:r>
            <a:r>
              <a:rPr lang="kk-KZ" sz="1200" b="1" dirty="0">
                <a:solidFill>
                  <a:srgbClr val="FAA954"/>
                </a:solidFill>
              </a:rPr>
              <a:t>г. – </a:t>
            </a:r>
            <a:r>
              <a:rPr lang="kk-KZ" sz="1200" b="1" dirty="0" smtClean="0">
                <a:solidFill>
                  <a:srgbClr val="FAA954"/>
                </a:solidFill>
              </a:rPr>
              <a:t>февраль 2020 </a:t>
            </a:r>
            <a:r>
              <a:rPr lang="kk-KZ" sz="1200" b="1" dirty="0">
                <a:solidFill>
                  <a:srgbClr val="FAA954"/>
                </a:solidFill>
              </a:rPr>
              <a:t>г</a:t>
            </a:r>
            <a:r>
              <a:rPr lang="kk-KZ" sz="1200" b="1" dirty="0" smtClean="0">
                <a:solidFill>
                  <a:srgbClr val="FAA954"/>
                </a:solidFill>
              </a:rPr>
              <a:t>.)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3276666" y="1678220"/>
            <a:ext cx="80722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Поступали отчисления 3 мес. подряд за отчетный </a:t>
            </a:r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период – </a:t>
            </a:r>
            <a:r>
              <a:rPr lang="kk-KZ" sz="1600" b="1" dirty="0" smtClean="0">
                <a:solidFill>
                  <a:srgbClr val="00B050"/>
                </a:solidFill>
              </a:rPr>
              <a:t>СТАБИЛЬНО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kk-KZ" sz="1600" b="1" dirty="0" smtClean="0">
                <a:solidFill>
                  <a:srgbClr val="00B050"/>
                </a:solidFill>
              </a:rPr>
              <a:t>ТРУДОУСТРОЕН</a:t>
            </a:r>
            <a:endParaRPr lang="ru-RU" sz="1600" b="1" dirty="0">
              <a:solidFill>
                <a:srgbClr val="00B050"/>
              </a:solidFill>
            </a:endParaRPr>
          </a:p>
        </p:txBody>
      </p:sp>
      <p:sp>
        <p:nvSpPr>
          <p:cNvPr id="150" name="Левая круглая скобка 149"/>
          <p:cNvSpPr/>
          <p:nvPr/>
        </p:nvSpPr>
        <p:spPr>
          <a:xfrm rot="5400000">
            <a:off x="7809561" y="711056"/>
            <a:ext cx="161929" cy="3390898"/>
          </a:xfrm>
          <a:prstGeom prst="leftBracket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7" name="TextBox 176"/>
          <p:cNvSpPr txBox="1"/>
          <p:nvPr/>
        </p:nvSpPr>
        <p:spPr>
          <a:xfrm>
            <a:off x="6355149" y="2379015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6935778" y="2379015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7520831" y="237849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80" name="Скругленный прямоугольник 179"/>
          <p:cNvSpPr/>
          <p:nvPr/>
        </p:nvSpPr>
        <p:spPr>
          <a:xfrm>
            <a:off x="6859270" y="2433802"/>
            <a:ext cx="1624808" cy="27554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2" name="TextBox 271"/>
          <p:cNvSpPr txBox="1"/>
          <p:nvPr/>
        </p:nvSpPr>
        <p:spPr>
          <a:xfrm>
            <a:off x="8122477" y="41288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73" name="TextBox 272"/>
          <p:cNvSpPr txBox="1"/>
          <p:nvPr/>
        </p:nvSpPr>
        <p:spPr>
          <a:xfrm>
            <a:off x="8703106" y="412885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74" name="TextBox 273"/>
          <p:cNvSpPr txBox="1"/>
          <p:nvPr/>
        </p:nvSpPr>
        <p:spPr>
          <a:xfrm>
            <a:off x="9199259" y="4115642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3465674" y="4371043"/>
            <a:ext cx="254826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200" b="1" dirty="0" smtClean="0">
                <a:solidFill>
                  <a:srgbClr val="FAA954"/>
                </a:solidFill>
              </a:rPr>
              <a:t>(</a:t>
            </a:r>
            <a:r>
              <a:rPr lang="kk-KZ" sz="1200" b="1" dirty="0">
                <a:solidFill>
                  <a:srgbClr val="FAA954"/>
                </a:solidFill>
              </a:rPr>
              <a:t>сентябрь 2019 г. – февраль 2020 г.)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276" name="TextBox 275"/>
          <p:cNvSpPr txBox="1"/>
          <p:nvPr/>
        </p:nvSpPr>
        <p:spPr>
          <a:xfrm>
            <a:off x="4572097" y="3719007"/>
            <a:ext cx="55574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Отчисления 3 мес. подряд за отчетный период не поступали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77" name="Левая круглая скобка 276"/>
          <p:cNvSpPr/>
          <p:nvPr/>
        </p:nvSpPr>
        <p:spPr>
          <a:xfrm rot="5400000">
            <a:off x="7816543" y="2470381"/>
            <a:ext cx="161929" cy="3390898"/>
          </a:xfrm>
          <a:prstGeom prst="leftBracket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8" name="TextBox 277"/>
          <p:cNvSpPr txBox="1"/>
          <p:nvPr/>
        </p:nvSpPr>
        <p:spPr>
          <a:xfrm>
            <a:off x="6362131" y="4138340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79" name="TextBox 278"/>
          <p:cNvSpPr txBox="1"/>
          <p:nvPr/>
        </p:nvSpPr>
        <p:spPr>
          <a:xfrm>
            <a:off x="6942760" y="413834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80" name="TextBox 279"/>
          <p:cNvSpPr txBox="1"/>
          <p:nvPr/>
        </p:nvSpPr>
        <p:spPr>
          <a:xfrm>
            <a:off x="7527813" y="4137824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cxnSp>
        <p:nvCxnSpPr>
          <p:cNvPr id="282" name="Прямая соединительная линия 281"/>
          <p:cNvCxnSpPr/>
          <p:nvPr/>
        </p:nvCxnSpPr>
        <p:spPr>
          <a:xfrm>
            <a:off x="357483" y="3572618"/>
            <a:ext cx="11510619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Прямоугольник 282"/>
          <p:cNvSpPr/>
          <p:nvPr/>
        </p:nvSpPr>
        <p:spPr>
          <a:xfrm>
            <a:off x="203470" y="5298694"/>
            <a:ext cx="204895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k-KZ" sz="1100" b="1" dirty="0" smtClean="0">
                <a:solidFill>
                  <a:srgbClr val="FF0000"/>
                </a:solidFill>
              </a:rPr>
              <a:t>ПО ДАННОМУ </a:t>
            </a:r>
            <a:r>
              <a:rPr lang="ru-RU" sz="1100" b="1" dirty="0" smtClean="0">
                <a:solidFill>
                  <a:srgbClr val="FF0000"/>
                </a:solidFill>
              </a:rPr>
              <a:t>ПОД</a:t>
            </a:r>
            <a:r>
              <a:rPr lang="kk-KZ" sz="1100" b="1" dirty="0" smtClean="0">
                <a:solidFill>
                  <a:srgbClr val="FF0000"/>
                </a:solidFill>
              </a:rPr>
              <a:t>КРИТЕРИЮ</a:t>
            </a:r>
          </a:p>
          <a:p>
            <a:pPr algn="ctr"/>
            <a:r>
              <a:rPr lang="kk-KZ" sz="1100" b="1" dirty="0" smtClean="0">
                <a:solidFill>
                  <a:srgbClr val="FF0000"/>
                </a:solidFill>
              </a:rPr>
              <a:t>НЕ </a:t>
            </a:r>
            <a:r>
              <a:rPr lang="kk-KZ" sz="1100" b="1" dirty="0">
                <a:solidFill>
                  <a:srgbClr val="FF0000"/>
                </a:solidFill>
              </a:rPr>
              <a:t>БЕРУТСЯ В </a:t>
            </a:r>
            <a:r>
              <a:rPr lang="kk-KZ" sz="1100" b="1" dirty="0" smtClean="0">
                <a:solidFill>
                  <a:srgbClr val="FF0000"/>
                </a:solidFill>
              </a:rPr>
              <a:t>РАСЧЕТ:</a:t>
            </a:r>
            <a:endParaRPr lang="ru-RU" sz="1100" b="1" dirty="0">
              <a:solidFill>
                <a:srgbClr val="FF0000"/>
              </a:solidFill>
            </a:endParaRPr>
          </a:p>
        </p:txBody>
      </p:sp>
      <p:pic>
        <p:nvPicPr>
          <p:cNvPr id="284" name="Picture 4" descr="Похожее изображение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5576" y="4416724"/>
            <a:ext cx="764744" cy="764744"/>
          </a:xfrm>
          <a:prstGeom prst="rect">
            <a:avLst/>
          </a:prstGeom>
          <a:noFill/>
          <a:ln cmpd="sng">
            <a:noFill/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85" name="Группа 284"/>
          <p:cNvGrpSpPr/>
          <p:nvPr/>
        </p:nvGrpSpPr>
        <p:grpSpPr>
          <a:xfrm>
            <a:off x="6140188" y="5731372"/>
            <a:ext cx="3454400" cy="495300"/>
            <a:chOff x="1422400" y="3149600"/>
            <a:chExt cx="3454400" cy="495300"/>
          </a:xfrm>
        </p:grpSpPr>
        <p:cxnSp>
          <p:nvCxnSpPr>
            <p:cNvPr id="286" name="Прямая соединительная линия 285"/>
            <p:cNvCxnSpPr/>
            <p:nvPr/>
          </p:nvCxnSpPr>
          <p:spPr>
            <a:xfrm>
              <a:off x="1422400" y="3390900"/>
              <a:ext cx="3454400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Прямая соединительная линия 286"/>
            <p:cNvCxnSpPr/>
            <p:nvPr/>
          </p:nvCxnSpPr>
          <p:spPr>
            <a:xfrm>
              <a:off x="4869525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88" name="Прямая соединительная линия 287"/>
          <p:cNvCxnSpPr/>
          <p:nvPr/>
        </p:nvCxnSpPr>
        <p:spPr>
          <a:xfrm>
            <a:off x="66481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Прямая соединительная линия 288"/>
          <p:cNvCxnSpPr/>
          <p:nvPr/>
        </p:nvCxnSpPr>
        <p:spPr>
          <a:xfrm>
            <a:off x="72323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Прямая соединительная линия 289"/>
          <p:cNvCxnSpPr/>
          <p:nvPr/>
        </p:nvCxnSpPr>
        <p:spPr>
          <a:xfrm>
            <a:off x="78292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Прямая соединительная линия 290"/>
          <p:cNvCxnSpPr/>
          <p:nvPr/>
        </p:nvCxnSpPr>
        <p:spPr>
          <a:xfrm>
            <a:off x="84134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Прямая соединительная линия 291"/>
          <p:cNvCxnSpPr/>
          <p:nvPr/>
        </p:nvCxnSpPr>
        <p:spPr>
          <a:xfrm>
            <a:off x="90103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Прямая соединительная линия 298"/>
          <p:cNvCxnSpPr/>
          <p:nvPr/>
        </p:nvCxnSpPr>
        <p:spPr>
          <a:xfrm>
            <a:off x="6152888" y="5731372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TextBox 299"/>
          <p:cNvSpPr txBox="1"/>
          <p:nvPr/>
        </p:nvSpPr>
        <p:spPr>
          <a:xfrm>
            <a:off x="6271577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01" name="TextBox 300"/>
          <p:cNvSpPr txBox="1"/>
          <p:nvPr/>
        </p:nvSpPr>
        <p:spPr>
          <a:xfrm>
            <a:off x="6814502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02" name="TextBox 301"/>
          <p:cNvSpPr txBox="1"/>
          <p:nvPr/>
        </p:nvSpPr>
        <p:spPr>
          <a:xfrm>
            <a:off x="7414577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03" name="TextBox 302"/>
          <p:cNvSpPr txBox="1"/>
          <p:nvPr/>
        </p:nvSpPr>
        <p:spPr>
          <a:xfrm>
            <a:off x="7978109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04" name="TextBox 303"/>
          <p:cNvSpPr txBox="1"/>
          <p:nvPr/>
        </p:nvSpPr>
        <p:spPr>
          <a:xfrm>
            <a:off x="8578184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05" name="TextBox 304"/>
          <p:cNvSpPr txBox="1"/>
          <p:nvPr/>
        </p:nvSpPr>
        <p:spPr>
          <a:xfrm>
            <a:off x="9175084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12" name="TextBox 311"/>
          <p:cNvSpPr txBox="1"/>
          <p:nvPr/>
        </p:nvSpPr>
        <p:spPr>
          <a:xfrm>
            <a:off x="6259220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13" name="TextBox 312"/>
          <p:cNvSpPr txBox="1"/>
          <p:nvPr/>
        </p:nvSpPr>
        <p:spPr>
          <a:xfrm>
            <a:off x="6802145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14" name="TextBox 313"/>
          <p:cNvSpPr txBox="1"/>
          <p:nvPr/>
        </p:nvSpPr>
        <p:spPr>
          <a:xfrm>
            <a:off x="7402220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15" name="TextBox 314"/>
          <p:cNvSpPr txBox="1"/>
          <p:nvPr/>
        </p:nvSpPr>
        <p:spPr>
          <a:xfrm>
            <a:off x="7965752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16" name="TextBox 315"/>
          <p:cNvSpPr txBox="1"/>
          <p:nvPr/>
        </p:nvSpPr>
        <p:spPr>
          <a:xfrm>
            <a:off x="8565827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17" name="TextBox 316"/>
          <p:cNvSpPr txBox="1"/>
          <p:nvPr/>
        </p:nvSpPr>
        <p:spPr>
          <a:xfrm>
            <a:off x="9162727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324" name="TextBox 323"/>
          <p:cNvSpPr txBox="1"/>
          <p:nvPr/>
        </p:nvSpPr>
        <p:spPr>
          <a:xfrm>
            <a:off x="3449746" y="5795784"/>
            <a:ext cx="254826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200" b="1" dirty="0" smtClean="0">
                <a:solidFill>
                  <a:srgbClr val="FAA954"/>
                </a:solidFill>
              </a:rPr>
              <a:t>(</a:t>
            </a:r>
            <a:r>
              <a:rPr lang="kk-KZ" sz="1200" b="1" dirty="0">
                <a:solidFill>
                  <a:srgbClr val="FAA954"/>
                </a:solidFill>
              </a:rPr>
              <a:t>сентябрь 2019 г. – февраль 2020 г.)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325" name="TextBox 324"/>
          <p:cNvSpPr txBox="1"/>
          <p:nvPr/>
        </p:nvSpPr>
        <p:spPr>
          <a:xfrm>
            <a:off x="4600119" y="5223850"/>
            <a:ext cx="69550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П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енсионные </a:t>
            </a:r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отчисления 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за отчетный период не поступали ни разу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326" name="Скругленный прямоугольник 325"/>
          <p:cNvSpPr/>
          <p:nvPr/>
        </p:nvSpPr>
        <p:spPr>
          <a:xfrm>
            <a:off x="6268927" y="5638711"/>
            <a:ext cx="3192584" cy="250618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2" name="Прямая соединительная линия 131"/>
          <p:cNvCxnSpPr/>
          <p:nvPr/>
        </p:nvCxnSpPr>
        <p:spPr>
          <a:xfrm>
            <a:off x="6192461" y="4367154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" name="Группа 132"/>
          <p:cNvGrpSpPr/>
          <p:nvPr/>
        </p:nvGrpSpPr>
        <p:grpSpPr>
          <a:xfrm>
            <a:off x="6192461" y="4367154"/>
            <a:ext cx="3410054" cy="495300"/>
            <a:chOff x="4870346" y="3149600"/>
            <a:chExt cx="3410054" cy="495300"/>
          </a:xfrm>
        </p:grpSpPr>
        <p:cxnSp>
          <p:nvCxnSpPr>
            <p:cNvPr id="134" name="Прямая соединительная линия 133"/>
            <p:cNvCxnSpPr/>
            <p:nvPr/>
          </p:nvCxnSpPr>
          <p:spPr>
            <a:xfrm>
              <a:off x="4870346" y="3390900"/>
              <a:ext cx="3410054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Прямая соединительная линия 134"/>
            <p:cNvCxnSpPr/>
            <p:nvPr/>
          </p:nvCxnSpPr>
          <p:spPr>
            <a:xfrm>
              <a:off x="8267700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6" name="Прямая соединительная линия 135"/>
          <p:cNvCxnSpPr/>
          <p:nvPr/>
        </p:nvCxnSpPr>
        <p:spPr>
          <a:xfrm>
            <a:off x="6795815" y="445605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/>
          <p:nvPr/>
        </p:nvCxnSpPr>
        <p:spPr>
          <a:xfrm>
            <a:off x="7380015" y="445605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>
            <a:off x="7976915" y="445605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единительная линия 138"/>
          <p:cNvCxnSpPr/>
          <p:nvPr/>
        </p:nvCxnSpPr>
        <p:spPr>
          <a:xfrm>
            <a:off x="8561115" y="445605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/>
          <p:nvPr/>
        </p:nvCxnSpPr>
        <p:spPr>
          <a:xfrm>
            <a:off x="9094515" y="445605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/>
          <p:cNvSpPr txBox="1"/>
          <p:nvPr/>
        </p:nvSpPr>
        <p:spPr>
          <a:xfrm>
            <a:off x="6360779" y="467778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6941804" y="467778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7538704" y="467778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8118304" y="467882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8686233" y="467882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9194057" y="466560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2254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УРОВЕНЬ ТРУДОУСТРОЙСТВА: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УСЛОВНАЯ ЗАНЯТОСТЬ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437372" y="930895"/>
            <a:ext cx="104013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Условная занятость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– показатель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который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демонстрирует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процент выпускников, получавших пенсионные отчисления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за период с сентября 2019 г. по февраль 2020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г. на нерегулярной основе (т.е. нестабильные заработки за исключением варианта стабильного трудоустройства)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4" name="Picture 2" descr="Картинки по запросу &quot;conditional employment .png&quot;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749" y="996009"/>
            <a:ext cx="700768" cy="70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31586" y="2112969"/>
            <a:ext cx="1992725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Рейтинг-2020</a:t>
            </a:r>
          </a:p>
          <a:p>
            <a:pPr algn="ctr"/>
            <a:r>
              <a:rPr lang="ru-RU" sz="2800" b="1" dirty="0" smtClean="0">
                <a:solidFill>
                  <a:srgbClr val="FAA95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r>
              <a:rPr lang="en-US" sz="2800" b="1" dirty="0" smtClean="0">
                <a:solidFill>
                  <a:srgbClr val="FAA95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%</a:t>
            </a:r>
          </a:p>
          <a:p>
            <a:pPr algn="ctr"/>
            <a:r>
              <a:rPr lang="en-US" sz="1400" b="1" dirty="0" smtClean="0">
                <a:solidFill>
                  <a:srgbClr val="FAA954"/>
                </a:solidFill>
              </a:rPr>
              <a:t>(</a:t>
            </a:r>
            <a:r>
              <a:rPr lang="ru-RU" sz="1400" b="1" dirty="0" smtClean="0">
                <a:solidFill>
                  <a:srgbClr val="FAA954"/>
                </a:solidFill>
              </a:rPr>
              <a:t>расчет проводился по </a:t>
            </a:r>
          </a:p>
          <a:p>
            <a:pPr algn="ctr"/>
            <a:r>
              <a:rPr lang="ru-RU" sz="1400" b="1" dirty="0" smtClean="0">
                <a:solidFill>
                  <a:srgbClr val="FAA954"/>
                </a:solidFill>
              </a:rPr>
              <a:t>выпускникам 2018 г.)</a:t>
            </a:r>
            <a:endParaRPr lang="ru-RU" sz="2400" b="1" dirty="0">
              <a:solidFill>
                <a:srgbClr val="FAA95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603095" y="1992578"/>
            <a:ext cx="69665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Поступали отчисления за отчетный период – </a:t>
            </a:r>
            <a:r>
              <a:rPr lang="kk-KZ" sz="1600" b="1" dirty="0" smtClean="0">
                <a:solidFill>
                  <a:srgbClr val="00B050"/>
                </a:solidFill>
              </a:rPr>
              <a:t>УСЛОВНО ЗАНЯТ</a:t>
            </a:r>
            <a:endParaRPr lang="ru-RU" sz="1600" b="1" dirty="0">
              <a:solidFill>
                <a:srgbClr val="00B05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603095" y="3716125"/>
            <a:ext cx="69665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Поступали отчисления 3 мес. подряд за </a:t>
            </a:r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отчетный период </a:t>
            </a:r>
            <a:endParaRPr lang="ru-RU" sz="1600" b="1" dirty="0">
              <a:solidFill>
                <a:srgbClr val="FF0000"/>
              </a:solidFill>
            </a:endParaRPr>
          </a:p>
        </p:txBody>
      </p:sp>
      <p:cxnSp>
        <p:nvCxnSpPr>
          <p:cNvPr id="177" name="Прямая соединительная линия 176"/>
          <p:cNvCxnSpPr/>
          <p:nvPr/>
        </p:nvCxnSpPr>
        <p:spPr>
          <a:xfrm>
            <a:off x="357483" y="3545322"/>
            <a:ext cx="11510619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Прямоугольник 178"/>
          <p:cNvSpPr/>
          <p:nvPr/>
        </p:nvSpPr>
        <p:spPr>
          <a:xfrm>
            <a:off x="203470" y="5339638"/>
            <a:ext cx="204895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kk-KZ" sz="1100" b="1" dirty="0" smtClean="0">
                <a:solidFill>
                  <a:srgbClr val="FF0000"/>
                </a:solidFill>
              </a:rPr>
              <a:t>ПО ДАННОМУ ПОДКРИТЕРИЮ</a:t>
            </a:r>
          </a:p>
          <a:p>
            <a:pPr algn="ctr"/>
            <a:r>
              <a:rPr lang="kk-KZ" sz="1100" b="1" dirty="0" smtClean="0">
                <a:solidFill>
                  <a:srgbClr val="FF0000"/>
                </a:solidFill>
              </a:rPr>
              <a:t>НЕ </a:t>
            </a:r>
            <a:r>
              <a:rPr lang="kk-KZ" sz="1100" b="1" dirty="0">
                <a:solidFill>
                  <a:srgbClr val="FF0000"/>
                </a:solidFill>
              </a:rPr>
              <a:t>БЕРУТСЯ В </a:t>
            </a:r>
            <a:r>
              <a:rPr lang="kk-KZ" sz="1100" b="1" dirty="0" smtClean="0">
                <a:solidFill>
                  <a:srgbClr val="FF0000"/>
                </a:solidFill>
              </a:rPr>
              <a:t>РАСЧЕТ:</a:t>
            </a:r>
            <a:endParaRPr lang="ru-RU" sz="1100" b="1" dirty="0">
              <a:solidFill>
                <a:srgbClr val="FF0000"/>
              </a:solidFill>
            </a:endParaRPr>
          </a:p>
        </p:txBody>
      </p:sp>
      <p:pic>
        <p:nvPicPr>
          <p:cNvPr id="180" name="Picture 4" descr="Похожее изображение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5576" y="4457668"/>
            <a:ext cx="764744" cy="764744"/>
          </a:xfrm>
          <a:prstGeom prst="rect">
            <a:avLst/>
          </a:prstGeom>
          <a:noFill/>
          <a:ln cmpd="sng">
            <a:noFill/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31" name="Прямая соединительная линия 130"/>
          <p:cNvCxnSpPr/>
          <p:nvPr/>
        </p:nvCxnSpPr>
        <p:spPr>
          <a:xfrm>
            <a:off x="6188623" y="2531394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2" name="Группа 131"/>
          <p:cNvGrpSpPr/>
          <p:nvPr/>
        </p:nvGrpSpPr>
        <p:grpSpPr>
          <a:xfrm>
            <a:off x="6188623" y="2531394"/>
            <a:ext cx="3410054" cy="495300"/>
            <a:chOff x="4870346" y="3149600"/>
            <a:chExt cx="3410054" cy="495300"/>
          </a:xfrm>
        </p:grpSpPr>
        <p:cxnSp>
          <p:nvCxnSpPr>
            <p:cNvPr id="133" name="Прямая соединительная линия 132"/>
            <p:cNvCxnSpPr/>
            <p:nvPr/>
          </p:nvCxnSpPr>
          <p:spPr>
            <a:xfrm>
              <a:off x="4870346" y="3390900"/>
              <a:ext cx="3410054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Прямая соединительная линия 175"/>
            <p:cNvCxnSpPr/>
            <p:nvPr/>
          </p:nvCxnSpPr>
          <p:spPr>
            <a:xfrm>
              <a:off x="8267700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8" name="Прямая соединительная линия 177"/>
          <p:cNvCxnSpPr/>
          <p:nvPr/>
        </p:nvCxnSpPr>
        <p:spPr>
          <a:xfrm>
            <a:off x="67919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/>
          <p:cNvCxnSpPr/>
          <p:nvPr/>
        </p:nvCxnSpPr>
        <p:spPr>
          <a:xfrm>
            <a:off x="73761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единительная линия 181"/>
          <p:cNvCxnSpPr/>
          <p:nvPr/>
        </p:nvCxnSpPr>
        <p:spPr>
          <a:xfrm>
            <a:off x="79730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/>
          <p:cNvCxnSpPr/>
          <p:nvPr/>
        </p:nvCxnSpPr>
        <p:spPr>
          <a:xfrm>
            <a:off x="85572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единительная линия 183"/>
          <p:cNvCxnSpPr/>
          <p:nvPr/>
        </p:nvCxnSpPr>
        <p:spPr>
          <a:xfrm>
            <a:off x="9090677" y="262029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/>
          <p:cNvSpPr txBox="1"/>
          <p:nvPr/>
        </p:nvSpPr>
        <p:spPr>
          <a:xfrm>
            <a:off x="6356941" y="284202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6937966" y="284202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7534866" y="284202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8114466" y="284306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8682395" y="284306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9190219" y="282984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8115495" y="236953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8696124" y="2369533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9192277" y="2356317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3449746" y="2625851"/>
            <a:ext cx="254826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 smtClean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200" b="1" dirty="0" smtClean="0">
                <a:solidFill>
                  <a:srgbClr val="FAA954"/>
                </a:solidFill>
              </a:rPr>
              <a:t>(сентябрь 2019 </a:t>
            </a:r>
            <a:r>
              <a:rPr lang="kk-KZ" sz="1200" b="1" dirty="0">
                <a:solidFill>
                  <a:srgbClr val="FAA954"/>
                </a:solidFill>
              </a:rPr>
              <a:t>г. – </a:t>
            </a:r>
            <a:r>
              <a:rPr lang="kk-KZ" sz="1200" b="1" dirty="0" smtClean="0">
                <a:solidFill>
                  <a:srgbClr val="FAA954"/>
                </a:solidFill>
              </a:rPr>
              <a:t>февраль 2020 </a:t>
            </a:r>
            <a:r>
              <a:rPr lang="kk-KZ" sz="1200" b="1" dirty="0">
                <a:solidFill>
                  <a:srgbClr val="FAA954"/>
                </a:solidFill>
              </a:rPr>
              <a:t>г</a:t>
            </a:r>
            <a:r>
              <a:rPr lang="kk-KZ" sz="1200" b="1" dirty="0" smtClean="0">
                <a:solidFill>
                  <a:srgbClr val="FAA954"/>
                </a:solidFill>
              </a:rPr>
              <a:t>.)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195" name="Левая круглая скобка 194"/>
          <p:cNvSpPr/>
          <p:nvPr/>
        </p:nvSpPr>
        <p:spPr>
          <a:xfrm rot="5400000">
            <a:off x="7809561" y="711056"/>
            <a:ext cx="161929" cy="3390898"/>
          </a:xfrm>
          <a:prstGeom prst="leftBracket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6" name="TextBox 195"/>
          <p:cNvSpPr txBox="1"/>
          <p:nvPr/>
        </p:nvSpPr>
        <p:spPr>
          <a:xfrm>
            <a:off x="6355149" y="2379015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6935778" y="2379015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8" name="TextBox 197"/>
          <p:cNvSpPr txBox="1"/>
          <p:nvPr/>
        </p:nvSpPr>
        <p:spPr>
          <a:xfrm>
            <a:off x="7520831" y="237849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cxnSp>
        <p:nvCxnSpPr>
          <p:cNvPr id="200" name="Прямая соединительная линия 199"/>
          <p:cNvCxnSpPr/>
          <p:nvPr/>
        </p:nvCxnSpPr>
        <p:spPr>
          <a:xfrm>
            <a:off x="2592867" y="1792010"/>
            <a:ext cx="0" cy="463076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Прямая соединительная линия 224"/>
          <p:cNvCxnSpPr/>
          <p:nvPr/>
        </p:nvCxnSpPr>
        <p:spPr>
          <a:xfrm>
            <a:off x="6188623" y="4347873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6" name="Группа 225"/>
          <p:cNvGrpSpPr/>
          <p:nvPr/>
        </p:nvGrpSpPr>
        <p:grpSpPr>
          <a:xfrm>
            <a:off x="6188623" y="4347873"/>
            <a:ext cx="3410054" cy="495300"/>
            <a:chOff x="4870346" y="3149600"/>
            <a:chExt cx="3410054" cy="495300"/>
          </a:xfrm>
        </p:grpSpPr>
        <p:cxnSp>
          <p:nvCxnSpPr>
            <p:cNvPr id="227" name="Прямая соединительная линия 226"/>
            <p:cNvCxnSpPr/>
            <p:nvPr/>
          </p:nvCxnSpPr>
          <p:spPr>
            <a:xfrm>
              <a:off x="4870346" y="3390900"/>
              <a:ext cx="3410054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Прямая соединительная линия 227"/>
            <p:cNvCxnSpPr/>
            <p:nvPr/>
          </p:nvCxnSpPr>
          <p:spPr>
            <a:xfrm>
              <a:off x="8267700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29" name="Прямая соединительная линия 228"/>
          <p:cNvCxnSpPr/>
          <p:nvPr/>
        </p:nvCxnSpPr>
        <p:spPr>
          <a:xfrm>
            <a:off x="6791977" y="4436773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Прямая соединительная линия 229"/>
          <p:cNvCxnSpPr/>
          <p:nvPr/>
        </p:nvCxnSpPr>
        <p:spPr>
          <a:xfrm>
            <a:off x="7376177" y="4436773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/>
          <p:cNvCxnSpPr/>
          <p:nvPr/>
        </p:nvCxnSpPr>
        <p:spPr>
          <a:xfrm>
            <a:off x="7973077" y="4436773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Прямая соединительная линия 231"/>
          <p:cNvCxnSpPr/>
          <p:nvPr/>
        </p:nvCxnSpPr>
        <p:spPr>
          <a:xfrm>
            <a:off x="8557277" y="4436773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единительная линия 232"/>
          <p:cNvCxnSpPr/>
          <p:nvPr/>
        </p:nvCxnSpPr>
        <p:spPr>
          <a:xfrm>
            <a:off x="9090677" y="4436773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TextBox 233"/>
          <p:cNvSpPr txBox="1"/>
          <p:nvPr/>
        </p:nvSpPr>
        <p:spPr>
          <a:xfrm>
            <a:off x="6356941" y="465850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35" name="TextBox 234"/>
          <p:cNvSpPr txBox="1"/>
          <p:nvPr/>
        </p:nvSpPr>
        <p:spPr>
          <a:xfrm>
            <a:off x="6937966" y="465850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7534866" y="4658507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37" name="TextBox 236"/>
          <p:cNvSpPr txBox="1"/>
          <p:nvPr/>
        </p:nvSpPr>
        <p:spPr>
          <a:xfrm>
            <a:off x="8114466" y="465953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38" name="TextBox 237"/>
          <p:cNvSpPr txBox="1"/>
          <p:nvPr/>
        </p:nvSpPr>
        <p:spPr>
          <a:xfrm>
            <a:off x="8682395" y="465953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9190219" y="4646323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40" name="TextBox 239"/>
          <p:cNvSpPr txBox="1"/>
          <p:nvPr/>
        </p:nvSpPr>
        <p:spPr>
          <a:xfrm>
            <a:off x="8115495" y="418601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8696124" y="4186012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9192277" y="4172796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3449746" y="4442330"/>
            <a:ext cx="254826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200" b="1" dirty="0" smtClean="0">
                <a:solidFill>
                  <a:srgbClr val="FAA954"/>
                </a:solidFill>
              </a:rPr>
              <a:t>(сентябрь 2019 </a:t>
            </a:r>
            <a:r>
              <a:rPr lang="kk-KZ" sz="1200" b="1" dirty="0">
                <a:solidFill>
                  <a:srgbClr val="FAA954"/>
                </a:solidFill>
              </a:rPr>
              <a:t>г. – </a:t>
            </a:r>
            <a:r>
              <a:rPr lang="kk-KZ" sz="1200" b="1" dirty="0" smtClean="0">
                <a:solidFill>
                  <a:srgbClr val="FAA954"/>
                </a:solidFill>
              </a:rPr>
              <a:t>февраль 2020 </a:t>
            </a:r>
            <a:r>
              <a:rPr lang="kk-KZ" sz="1200" b="1" dirty="0">
                <a:solidFill>
                  <a:srgbClr val="FAA954"/>
                </a:solidFill>
              </a:rPr>
              <a:t>г</a:t>
            </a:r>
            <a:r>
              <a:rPr lang="kk-KZ" sz="1200" b="1" dirty="0" smtClean="0">
                <a:solidFill>
                  <a:srgbClr val="FAA954"/>
                </a:solidFill>
              </a:rPr>
              <a:t>.)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244" name="Левая круглая скобка 243"/>
          <p:cNvSpPr/>
          <p:nvPr/>
        </p:nvSpPr>
        <p:spPr>
          <a:xfrm rot="5400000">
            <a:off x="7809561" y="2527535"/>
            <a:ext cx="161929" cy="3390898"/>
          </a:xfrm>
          <a:prstGeom prst="leftBracket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5" name="TextBox 244"/>
          <p:cNvSpPr txBox="1"/>
          <p:nvPr/>
        </p:nvSpPr>
        <p:spPr>
          <a:xfrm>
            <a:off x="6355149" y="4195494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6935778" y="419549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7520831" y="419497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48" name="Скругленный прямоугольник 247"/>
          <p:cNvSpPr/>
          <p:nvPr/>
        </p:nvSpPr>
        <p:spPr>
          <a:xfrm>
            <a:off x="6859270" y="4250281"/>
            <a:ext cx="1624808" cy="27554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49" name="Группа 248"/>
          <p:cNvGrpSpPr/>
          <p:nvPr/>
        </p:nvGrpSpPr>
        <p:grpSpPr>
          <a:xfrm>
            <a:off x="6140188" y="5731372"/>
            <a:ext cx="3454400" cy="495300"/>
            <a:chOff x="1422400" y="3149600"/>
            <a:chExt cx="3454400" cy="495300"/>
          </a:xfrm>
        </p:grpSpPr>
        <p:cxnSp>
          <p:nvCxnSpPr>
            <p:cNvPr id="250" name="Прямая соединительная линия 249"/>
            <p:cNvCxnSpPr/>
            <p:nvPr/>
          </p:nvCxnSpPr>
          <p:spPr>
            <a:xfrm>
              <a:off x="1422400" y="3390900"/>
              <a:ext cx="3454400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Прямая соединительная линия 250"/>
            <p:cNvCxnSpPr/>
            <p:nvPr/>
          </p:nvCxnSpPr>
          <p:spPr>
            <a:xfrm>
              <a:off x="4869525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52" name="Прямая соединительная линия 251"/>
          <p:cNvCxnSpPr/>
          <p:nvPr/>
        </p:nvCxnSpPr>
        <p:spPr>
          <a:xfrm>
            <a:off x="66481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Прямая соединительная линия 252"/>
          <p:cNvCxnSpPr/>
          <p:nvPr/>
        </p:nvCxnSpPr>
        <p:spPr>
          <a:xfrm>
            <a:off x="72323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Прямая соединительная линия 253"/>
          <p:cNvCxnSpPr/>
          <p:nvPr/>
        </p:nvCxnSpPr>
        <p:spPr>
          <a:xfrm>
            <a:off x="78292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Прямая соединительная линия 254"/>
          <p:cNvCxnSpPr/>
          <p:nvPr/>
        </p:nvCxnSpPr>
        <p:spPr>
          <a:xfrm>
            <a:off x="84134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Прямая соединительная линия 255"/>
          <p:cNvCxnSpPr/>
          <p:nvPr/>
        </p:nvCxnSpPr>
        <p:spPr>
          <a:xfrm>
            <a:off x="9010388" y="5820272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Прямая соединительная линия 256"/>
          <p:cNvCxnSpPr/>
          <p:nvPr/>
        </p:nvCxnSpPr>
        <p:spPr>
          <a:xfrm>
            <a:off x="6152888" y="5731372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TextBox 257"/>
          <p:cNvSpPr txBox="1"/>
          <p:nvPr/>
        </p:nvSpPr>
        <p:spPr>
          <a:xfrm>
            <a:off x="6271577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6814502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60" name="TextBox 259"/>
          <p:cNvSpPr txBox="1"/>
          <p:nvPr/>
        </p:nvSpPr>
        <p:spPr>
          <a:xfrm>
            <a:off x="7414577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61" name="TextBox 260"/>
          <p:cNvSpPr txBox="1"/>
          <p:nvPr/>
        </p:nvSpPr>
        <p:spPr>
          <a:xfrm>
            <a:off x="7978109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8578184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63" name="TextBox 262"/>
          <p:cNvSpPr txBox="1"/>
          <p:nvPr/>
        </p:nvSpPr>
        <p:spPr>
          <a:xfrm>
            <a:off x="9175084" y="604200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64" name="TextBox 263"/>
          <p:cNvSpPr txBox="1"/>
          <p:nvPr/>
        </p:nvSpPr>
        <p:spPr>
          <a:xfrm>
            <a:off x="6259220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6802145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7402220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67" name="TextBox 266"/>
          <p:cNvSpPr txBox="1"/>
          <p:nvPr/>
        </p:nvSpPr>
        <p:spPr>
          <a:xfrm>
            <a:off x="7965752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68" name="TextBox 267"/>
          <p:cNvSpPr txBox="1"/>
          <p:nvPr/>
        </p:nvSpPr>
        <p:spPr>
          <a:xfrm>
            <a:off x="8565827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69" name="TextBox 268"/>
          <p:cNvSpPr txBox="1"/>
          <p:nvPr/>
        </p:nvSpPr>
        <p:spPr>
          <a:xfrm>
            <a:off x="9162727" y="556847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70" name="TextBox 269"/>
          <p:cNvSpPr txBox="1"/>
          <p:nvPr/>
        </p:nvSpPr>
        <p:spPr>
          <a:xfrm>
            <a:off x="3449746" y="5795784"/>
            <a:ext cx="2548262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200" b="1" dirty="0" smtClean="0">
                <a:solidFill>
                  <a:srgbClr val="FAA954"/>
                </a:solidFill>
              </a:rPr>
              <a:t>(</a:t>
            </a:r>
            <a:r>
              <a:rPr lang="kk-KZ" sz="1200" b="1" dirty="0">
                <a:solidFill>
                  <a:srgbClr val="FAA954"/>
                </a:solidFill>
              </a:rPr>
              <a:t>сентябрь 2019 г. – февраль 2020 г.)</a:t>
            </a:r>
            <a:endParaRPr lang="ru-RU" sz="1200" b="1" dirty="0">
              <a:solidFill>
                <a:srgbClr val="FAA954"/>
              </a:solidFill>
            </a:endParaRPr>
          </a:p>
        </p:txBody>
      </p:sp>
      <p:sp>
        <p:nvSpPr>
          <p:cNvPr id="271" name="TextBox 270"/>
          <p:cNvSpPr txBox="1"/>
          <p:nvPr/>
        </p:nvSpPr>
        <p:spPr>
          <a:xfrm>
            <a:off x="4600119" y="5223850"/>
            <a:ext cx="69550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П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енсионные </a:t>
            </a:r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отчисления 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за отчетный период не поступали ни разу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72" name="Скругленный прямоугольник 271"/>
          <p:cNvSpPr/>
          <p:nvPr/>
        </p:nvSpPr>
        <p:spPr>
          <a:xfrm>
            <a:off x="6268927" y="5638711"/>
            <a:ext cx="3192584" cy="250618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49229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ПРОДОЛЖИТЕЛЬНОСТЬ ПОИСК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РАБОТЫ (вес –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12%)</a:t>
            </a:r>
            <a:endParaRPr lang="ru-RU" dirty="0"/>
          </a:p>
        </p:txBody>
      </p:sp>
      <p:pic>
        <p:nvPicPr>
          <p:cNvPr id="11" name="Picture 12" descr="Image result for поиск  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8049" y="961227"/>
            <a:ext cx="700768" cy="70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410701" y="1019223"/>
            <a:ext cx="10401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2. Продолжительность поиска работы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– показатель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затраченного на поиск работы времени с момента выпуска из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вуза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49" name="Группа 48"/>
          <p:cNvGrpSpPr/>
          <p:nvPr/>
        </p:nvGrpSpPr>
        <p:grpSpPr>
          <a:xfrm>
            <a:off x="4211112" y="2977398"/>
            <a:ext cx="3447865" cy="495300"/>
            <a:chOff x="1422400" y="3143250"/>
            <a:chExt cx="3447865" cy="495300"/>
          </a:xfrm>
        </p:grpSpPr>
        <p:cxnSp>
          <p:nvCxnSpPr>
            <p:cNvPr id="50" name="Прямая соединительная линия 49"/>
            <p:cNvCxnSpPr/>
            <p:nvPr/>
          </p:nvCxnSpPr>
          <p:spPr>
            <a:xfrm>
              <a:off x="1422400" y="3390900"/>
              <a:ext cx="3447865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/>
            <p:cNvCxnSpPr/>
            <p:nvPr/>
          </p:nvCxnSpPr>
          <p:spPr>
            <a:xfrm>
              <a:off x="4867250" y="314325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2" name="Прямая соединительная линия 51"/>
          <p:cNvCxnSpPr/>
          <p:nvPr/>
        </p:nvCxnSpPr>
        <p:spPr>
          <a:xfrm>
            <a:off x="4719112" y="3072648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5303312" y="3072648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5900212" y="3072648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6484412" y="3072648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7081312" y="3072648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4223812" y="2983748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AutoShape 2" descr="Картинки по запросу &quot;геолокация иконка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5" name="AutoShape 4" descr="Картинки по запросу &quot;геолокация иконка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6" name="TextBox 95"/>
          <p:cNvSpPr txBox="1"/>
          <p:nvPr/>
        </p:nvSpPr>
        <p:spPr>
          <a:xfrm>
            <a:off x="4304744" y="326314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861317" y="326314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447744" y="326314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011276" y="326314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6611351" y="326314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208251" y="3263148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82" name="Picture 10" descr="Картинки по запросу &quot;локация .png&quot;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0261" y="2300486"/>
            <a:ext cx="523875" cy="52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08" name="Прямая соединительная линия 107"/>
          <p:cNvCxnSpPr/>
          <p:nvPr/>
        </p:nvCxnSpPr>
        <p:spPr>
          <a:xfrm>
            <a:off x="421668" y="1910502"/>
            <a:ext cx="11515725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/>
          <p:cNvSpPr txBox="1"/>
          <p:nvPr/>
        </p:nvSpPr>
        <p:spPr>
          <a:xfrm>
            <a:off x="1183857" y="3072242"/>
            <a:ext cx="293715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400" b="1" dirty="0">
                <a:solidFill>
                  <a:srgbClr val="FAA954"/>
                </a:solidFill>
              </a:rPr>
              <a:t>(сентябрь 2019 г. – февраль 2020 г.)</a:t>
            </a:r>
            <a:endParaRPr lang="ru-RU" sz="1400" b="1" dirty="0">
              <a:solidFill>
                <a:srgbClr val="FAA954"/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317444" y="283602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887665" y="283602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5446796" y="283602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6023976" y="283602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6624051" y="2836029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7220951" y="283602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5864136" y="2301141"/>
            <a:ext cx="50085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Первые два непрерывных отчисления начинаются с 3 месяца</a:t>
            </a:r>
          </a:p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Продолжительность поиска работы – 3 мес.</a:t>
            </a:r>
            <a:endParaRPr lang="ru-RU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447744" y="2878953"/>
            <a:ext cx="877918" cy="28044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2" name="Группа 161"/>
          <p:cNvGrpSpPr/>
          <p:nvPr/>
        </p:nvGrpSpPr>
        <p:grpSpPr>
          <a:xfrm>
            <a:off x="4211112" y="4972974"/>
            <a:ext cx="3454400" cy="495300"/>
            <a:chOff x="1422400" y="3149600"/>
            <a:chExt cx="3454400" cy="495300"/>
          </a:xfrm>
        </p:grpSpPr>
        <p:cxnSp>
          <p:nvCxnSpPr>
            <p:cNvPr id="163" name="Прямая соединительная линия 162"/>
            <p:cNvCxnSpPr/>
            <p:nvPr/>
          </p:nvCxnSpPr>
          <p:spPr>
            <a:xfrm>
              <a:off x="1422400" y="3390900"/>
              <a:ext cx="3454400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Прямая соединительная линия 163"/>
            <p:cNvCxnSpPr/>
            <p:nvPr/>
          </p:nvCxnSpPr>
          <p:spPr>
            <a:xfrm>
              <a:off x="4870265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5" name="Прямая соединительная линия 164"/>
          <p:cNvCxnSpPr/>
          <p:nvPr/>
        </p:nvCxnSpPr>
        <p:spPr>
          <a:xfrm>
            <a:off x="4719112" y="506187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единительная линия 165"/>
          <p:cNvCxnSpPr/>
          <p:nvPr/>
        </p:nvCxnSpPr>
        <p:spPr>
          <a:xfrm>
            <a:off x="5303312" y="506187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Прямая соединительная линия 166"/>
          <p:cNvCxnSpPr/>
          <p:nvPr/>
        </p:nvCxnSpPr>
        <p:spPr>
          <a:xfrm>
            <a:off x="5900212" y="506187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>
            <a:off x="6484412" y="506187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Прямая соединительная линия 168"/>
          <p:cNvCxnSpPr/>
          <p:nvPr/>
        </p:nvCxnSpPr>
        <p:spPr>
          <a:xfrm>
            <a:off x="7081312" y="5061874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Прямая соединительная линия 175"/>
          <p:cNvCxnSpPr/>
          <p:nvPr/>
        </p:nvCxnSpPr>
        <p:spPr>
          <a:xfrm>
            <a:off x="4223812" y="4972974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/>
          <p:cNvSpPr txBox="1"/>
          <p:nvPr/>
        </p:nvSpPr>
        <p:spPr>
          <a:xfrm>
            <a:off x="4304744" y="525237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8" name="TextBox 177"/>
          <p:cNvSpPr txBox="1"/>
          <p:nvPr/>
        </p:nvSpPr>
        <p:spPr>
          <a:xfrm>
            <a:off x="4847669" y="525237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5447744" y="525237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6011276" y="525237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6611351" y="525237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7208251" y="525237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89" name="Picture 10" descr="Картинки по запросу &quot;локация .png&quot;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24677" y="4289712"/>
            <a:ext cx="523875" cy="52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TextBox 189"/>
          <p:cNvSpPr txBox="1"/>
          <p:nvPr/>
        </p:nvSpPr>
        <p:spPr>
          <a:xfrm>
            <a:off x="1183857" y="5053088"/>
            <a:ext cx="293715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400" b="1" dirty="0">
                <a:solidFill>
                  <a:srgbClr val="FAA954"/>
                </a:solidFill>
              </a:rPr>
              <a:t>(сентябрь 2019 г. – февраль 2020 г.)</a:t>
            </a:r>
            <a:endParaRPr lang="ru-RU" sz="1400" b="1" dirty="0">
              <a:solidFill>
                <a:srgbClr val="FAA954"/>
              </a:solidFill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317444" y="4825255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4860369" y="4825255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5460444" y="4825255"/>
            <a:ext cx="255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-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6023976" y="4825255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6624051" y="4825255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7220951" y="4825255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AA954"/>
                </a:solidFill>
              </a:rPr>
              <a:t>$</a:t>
            </a:r>
            <a:endParaRPr lang="ru-RU" b="1" dirty="0">
              <a:solidFill>
                <a:srgbClr val="FAA954"/>
              </a:solidFill>
            </a:endParaRPr>
          </a:p>
        </p:txBody>
      </p:sp>
      <p:sp>
        <p:nvSpPr>
          <p:cNvPr id="205" name="TextBox 204"/>
          <p:cNvSpPr txBox="1"/>
          <p:nvPr/>
        </p:nvSpPr>
        <p:spPr>
          <a:xfrm>
            <a:off x="6497615" y="4284164"/>
            <a:ext cx="50085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Первые два непрерывных отчисления начинаются с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 месяца</a:t>
            </a:r>
          </a:p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Продолжительность поиска работы –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 мес.</a:t>
            </a:r>
            <a:endParaRPr lang="ru-RU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7" name="Скругленный прямоугольник 206"/>
          <p:cNvSpPr/>
          <p:nvPr/>
        </p:nvSpPr>
        <p:spPr>
          <a:xfrm>
            <a:off x="6035119" y="4869699"/>
            <a:ext cx="877918" cy="28044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15697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000" y="140594"/>
            <a:ext cx="11043200" cy="544108"/>
          </a:xfrm>
        </p:spPr>
        <p:txBody>
          <a:bodyPr/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СРЕДНЯЯ ЗАРАБОТНАЯ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ЛАТА (вес – 5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%)</a:t>
            </a:r>
            <a:endParaRPr lang="ru-RU" dirty="0"/>
          </a:p>
        </p:txBody>
      </p:sp>
      <p:pic>
        <p:nvPicPr>
          <p:cNvPr id="3" name="Picture 6" descr="Image result for зарплата значок 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016" y="826570"/>
            <a:ext cx="700768" cy="70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422400" y="884566"/>
            <a:ext cx="10401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3. Средняя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заработная плат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– показатель, характеризующий качество рабочего места выпускника и его ценность в глазах работодателя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xmlns="" val="3310760464"/>
              </p:ext>
            </p:extLst>
          </p:nvPr>
        </p:nvGraphicFramePr>
        <p:xfrm>
          <a:off x="3127229" y="4440366"/>
          <a:ext cx="8745646" cy="1746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8" name="Группа 7"/>
          <p:cNvGrpSpPr/>
          <p:nvPr/>
        </p:nvGrpSpPr>
        <p:grpSpPr>
          <a:xfrm>
            <a:off x="5547658" y="2425730"/>
            <a:ext cx="3454400" cy="495300"/>
            <a:chOff x="1422400" y="3149600"/>
            <a:chExt cx="3454400" cy="495300"/>
          </a:xfrm>
        </p:grpSpPr>
        <p:cxnSp>
          <p:nvCxnSpPr>
            <p:cNvPr id="9" name="Прямая соединительная линия 8"/>
            <p:cNvCxnSpPr/>
            <p:nvPr/>
          </p:nvCxnSpPr>
          <p:spPr>
            <a:xfrm>
              <a:off x="1422400" y="3390900"/>
              <a:ext cx="3454400" cy="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4876800" y="3149600"/>
              <a:ext cx="0" cy="495300"/>
            </a:xfrm>
            <a:prstGeom prst="line">
              <a:avLst/>
            </a:prstGeom>
            <a:ln w="3810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" name="Прямая соединительная линия 10"/>
          <p:cNvCxnSpPr/>
          <p:nvPr/>
        </p:nvCxnSpPr>
        <p:spPr>
          <a:xfrm>
            <a:off x="6055658" y="2514630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6639858" y="2514630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7236758" y="2514630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7820958" y="2514630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417858" y="2514630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9002058" y="2514630"/>
            <a:ext cx="0" cy="3048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5560358" y="2425730"/>
            <a:ext cx="0" cy="4953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5666690" y="273636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09615" y="273636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809690" y="273636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3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373222" y="273636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4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973297" y="273636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5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570197" y="2736364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b="1" dirty="0" smtClean="0">
                <a:solidFill>
                  <a:schemeClr val="accent1">
                    <a:lumMod val="50000"/>
                  </a:schemeClr>
                </a:solidFill>
              </a:rPr>
              <a:t>6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87376" y="2396381"/>
            <a:ext cx="293715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Отчетный период</a:t>
            </a:r>
          </a:p>
          <a:p>
            <a:r>
              <a:rPr lang="kk-KZ" sz="1400" b="1" dirty="0">
                <a:solidFill>
                  <a:srgbClr val="FAA954"/>
                </a:solidFill>
              </a:rPr>
              <a:t>(сентябрь 2019 г. – февраль 2020 г.)</a:t>
            </a:r>
            <a:endParaRPr lang="ru-RU" sz="1400" b="1" dirty="0">
              <a:solidFill>
                <a:srgbClr val="FAA954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86700" y="2306881"/>
            <a:ext cx="461665" cy="207749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–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131622" y="1837200"/>
            <a:ext cx="461665" cy="677430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95000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717144" y="2352957"/>
            <a:ext cx="461665" cy="162865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-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62066" y="1721374"/>
            <a:ext cx="461665" cy="794448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125000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884387" y="1720182"/>
            <a:ext cx="461665" cy="794448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137000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469909" y="1721374"/>
            <a:ext cx="461665" cy="794448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165000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57" name="Группа 56"/>
          <p:cNvGrpSpPr/>
          <p:nvPr/>
        </p:nvGrpSpPr>
        <p:grpSpPr>
          <a:xfrm>
            <a:off x="5736117" y="3152948"/>
            <a:ext cx="5632824" cy="590898"/>
            <a:chOff x="4859817" y="2948800"/>
            <a:chExt cx="5632824" cy="590898"/>
          </a:xfrm>
        </p:grpSpPr>
        <p:sp>
          <p:nvSpPr>
            <p:cNvPr id="54" name="TextBox 53"/>
            <p:cNvSpPr txBox="1"/>
            <p:nvPr/>
          </p:nvSpPr>
          <p:spPr>
            <a:xfrm>
              <a:off x="4859817" y="2990334"/>
              <a:ext cx="563282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</a:rPr>
                <a:t>Средняя зарплата выпускника –                    = </a:t>
              </a:r>
              <a:r>
                <a:rPr lang="ru-RU" sz="2400" b="1" dirty="0" smtClean="0">
                  <a:solidFill>
                    <a:srgbClr val="FAA954"/>
                  </a:solidFill>
                </a:rPr>
                <a:t>87000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ru-RU" b="1" dirty="0" err="1" smtClean="0">
                  <a:solidFill>
                    <a:schemeClr val="accent1">
                      <a:lumMod val="50000"/>
                    </a:schemeClr>
                  </a:solidFill>
                </a:rPr>
                <a:t>тг</a:t>
              </a:r>
              <a:endParaRPr lang="ru-RU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8123724" y="2948800"/>
              <a:ext cx="11112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u="sng" dirty="0" smtClean="0">
                  <a:solidFill>
                    <a:schemeClr val="accent1">
                      <a:lumMod val="50000"/>
                    </a:schemeClr>
                  </a:solidFill>
                </a:rPr>
                <a:t>522000 </a:t>
              </a:r>
              <a:r>
                <a:rPr lang="ru-RU" b="1" u="sng" dirty="0" err="1" smtClean="0">
                  <a:solidFill>
                    <a:schemeClr val="accent1">
                      <a:lumMod val="50000"/>
                    </a:schemeClr>
                  </a:solidFill>
                </a:rPr>
                <a:t>тг</a:t>
              </a:r>
              <a:endParaRPr lang="ru-RU" b="1" u="sng" dirty="0" smtClean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8283925" y="3170366"/>
              <a:ext cx="79220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</a:rPr>
                <a:t>6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</a:rPr>
                <a:t>мес.</a:t>
              </a:r>
            </a:p>
          </p:txBody>
        </p:sp>
      </p:grpSp>
      <p:sp>
        <p:nvSpPr>
          <p:cNvPr id="58" name="Скругленный прямоугольник 57"/>
          <p:cNvSpPr/>
          <p:nvPr/>
        </p:nvSpPr>
        <p:spPr>
          <a:xfrm>
            <a:off x="5554869" y="3131612"/>
            <a:ext cx="6052931" cy="612234"/>
          </a:xfrm>
          <a:prstGeom prst="roundRect">
            <a:avLst/>
          </a:prstGeom>
          <a:noFill/>
          <a:ln w="19050">
            <a:solidFill>
              <a:srgbClr val="FAA95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392016" y="3860800"/>
            <a:ext cx="11431684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377691" y="1658452"/>
            <a:ext cx="11431684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392016" y="1774094"/>
            <a:ext cx="36697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Заработная плата выпускника №1 </a:t>
            </a:r>
            <a:endParaRPr lang="ru-RU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425313" y="4364070"/>
            <a:ext cx="259430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редняя заработная плата 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о специальности</a:t>
            </a:r>
            <a:endParaRPr lang="ru-RU" sz="1600" dirty="0"/>
          </a:p>
        </p:txBody>
      </p:sp>
      <p:sp>
        <p:nvSpPr>
          <p:cNvPr id="68" name="TextBox 67"/>
          <p:cNvSpPr txBox="1"/>
          <p:nvPr/>
        </p:nvSpPr>
        <p:spPr>
          <a:xfrm>
            <a:off x="556799" y="4993500"/>
            <a:ext cx="11112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 smtClean="0">
                <a:solidFill>
                  <a:schemeClr val="accent1">
                    <a:lumMod val="50000"/>
                  </a:schemeClr>
                </a:solidFill>
              </a:rPr>
              <a:t>951000 </a:t>
            </a:r>
            <a:r>
              <a:rPr lang="ru-RU" b="1" u="sng" dirty="0" err="1" smtClean="0">
                <a:solidFill>
                  <a:schemeClr val="accent1">
                    <a:lumMod val="50000"/>
                  </a:schemeClr>
                </a:solidFill>
              </a:rPr>
              <a:t>тг</a:t>
            </a:r>
            <a:endParaRPr lang="ru-RU" b="1" u="sng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45669" y="5215066"/>
            <a:ext cx="9348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10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</a:rPr>
              <a:t>вып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0" name="Левая круглая скобка 69"/>
          <p:cNvSpPr/>
          <p:nvPr/>
        </p:nvSpPr>
        <p:spPr>
          <a:xfrm rot="5400000">
            <a:off x="7044272" y="630695"/>
            <a:ext cx="142490" cy="7580527"/>
          </a:xfrm>
          <a:prstGeom prst="leftBracket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6509482" y="3932198"/>
            <a:ext cx="11112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951000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</a:rPr>
              <a:t>тг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533270" y="5025430"/>
            <a:ext cx="13548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= </a:t>
            </a:r>
            <a:r>
              <a:rPr lang="ru-RU" sz="2400" b="1" dirty="0" smtClean="0">
                <a:solidFill>
                  <a:srgbClr val="FAA954"/>
                </a:solidFill>
              </a:rPr>
              <a:t>95100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1" dirty="0" err="1">
                <a:solidFill>
                  <a:schemeClr val="accent1">
                    <a:lumMod val="50000"/>
                  </a:schemeClr>
                </a:solidFill>
              </a:rPr>
              <a:t>тг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56799" y="4993500"/>
            <a:ext cx="2331329" cy="590898"/>
          </a:xfrm>
          <a:prstGeom prst="roundRect">
            <a:avLst/>
          </a:prstGeom>
          <a:noFill/>
          <a:ln w="28575">
            <a:solidFill>
              <a:srgbClr val="FAA95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35"/>
          <p:cNvSpPr txBox="1"/>
          <p:nvPr/>
        </p:nvSpPr>
        <p:spPr>
          <a:xfrm>
            <a:off x="3612708" y="6190734"/>
            <a:ext cx="77244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</a:rPr>
              <a:t>Примечание:</a:t>
            </a:r>
            <a:r>
              <a:rPr lang="ru-RU" sz="1400" dirty="0" smtClean="0"/>
              <a:t>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для привязки заработной платы к региону используется прожиточный минимум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3612708" y="6190734"/>
            <a:ext cx="7490975" cy="3077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37192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52</TotalTime>
  <Words>2027</Words>
  <Application>Microsoft Office PowerPoint</Application>
  <PresentationFormat>Произвольный</PresentationFormat>
  <Paragraphs>361</Paragraphs>
  <Slides>1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Тема Office</vt:lpstr>
      <vt:lpstr>think-cell Slide</vt:lpstr>
      <vt:lpstr>Слайд 1</vt:lpstr>
      <vt:lpstr>Распределение весов по критериям за 2020 год</vt:lpstr>
      <vt:lpstr>АЛГОРИТМ ПОЛУЧЕНИЯ ДАННЫХ ПО БЛОКУ «КАРЬЕРНЫЕ ПЕРСПЕКТИВЫ ВЫПУСКНИКОВ»</vt:lpstr>
      <vt:lpstr>КРИТЕРИИ БЛОКА «КАРЬЕРНЫЕ ПЕРСПЕКТИВЫ ВЫПУСКНИКОВ»</vt:lpstr>
      <vt:lpstr>1. УРОВЕНЬ ТРУДОУСТРОЙСТВА (вес – 35%) </vt:lpstr>
      <vt:lpstr>УРОВЕНЬ ТРУДОУСТРОЙСТВА: СТАБИЛЬНОЕ ТРУДОУСТРОЙСТВО</vt:lpstr>
      <vt:lpstr>УРОВЕНЬ ТРУДОУСТРОЙСТВА: УСЛОВНАЯ ЗАНЯТОСТЬ</vt:lpstr>
      <vt:lpstr>ПРОДОЛЖИТЕЛЬНОСТЬ ПОИСКА РАБОТЫ (вес – 12%)</vt:lpstr>
      <vt:lpstr>СРЕДНЯЯ ЗАРАБОТНАЯ ПЛАТА (вес – 5%)</vt:lpstr>
      <vt:lpstr>СРЕДНЯЯ ЗАРАБОТНАЯ ПЛАТА (вес – 5%)</vt:lpstr>
      <vt:lpstr>КРИТЕРИИ БЛОКА «КАЧЕСТВО ОБРАЗОВАТЕЛЬНОЙ ПРОГРАММЫ». СТАТИСТИЧЕСКИЕ ДАННЫЕ </vt:lpstr>
      <vt:lpstr>КРИТЕРИИ БЛОКА «КАЧЕСТВО ОБРАЗОВАТЕЛЬНОЙ ПРОГРАММЫ». СТАТИСТИЧЕСКИЕ ДАННЫЕ </vt:lpstr>
      <vt:lpstr>КРИТЕРИИ БЛОКА «КАЧЕСТВО ОБРАЗОВАТЕЛЬНОЙ ПРОГРАММЫ». ЭКСПЕРТНАЯ ОЦЕНКА</vt:lpstr>
      <vt:lpstr>АЛГОРИТМ ПО БЛОКУ ЭКСПЕРТНОЙ ОЦЕНКИ</vt:lpstr>
      <vt:lpstr>КРИТЕРИИ БЛОКА «ДОСТИЖЕНИЯ ОБУЧАЮЩИХСЯ»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сымова Арай Жанатовна</dc:creator>
  <cp:lastModifiedBy>Admin</cp:lastModifiedBy>
  <cp:revision>776</cp:revision>
  <cp:lastPrinted>2020-03-10T10:57:41Z</cp:lastPrinted>
  <dcterms:created xsi:type="dcterms:W3CDTF">2019-11-20T08:07:28Z</dcterms:created>
  <dcterms:modified xsi:type="dcterms:W3CDTF">2020-04-24T05:31:17Z</dcterms:modified>
</cp:coreProperties>
</file>